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charts/chart7.xml" ContentType="application/vnd.openxmlformats-officedocument.drawingml.chart+xml"/>
  <Override PartName="/ppt/theme/themeOverride7.xml" ContentType="application/vnd.openxmlformats-officedocument.themeOverride+xml"/>
  <Override PartName="/ppt/charts/chart8.xml" ContentType="application/vnd.openxmlformats-officedocument.drawingml.chart+xml"/>
  <Override PartName="/ppt/theme/themeOverride8.xml" ContentType="application/vnd.openxmlformats-officedocument.themeOverr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charts/chart9.xml" ContentType="application/vnd.openxmlformats-officedocument.drawingml.chart+xml"/>
  <Override PartName="/ppt/theme/themeOverride9.xml" ContentType="application/vnd.openxmlformats-officedocument.themeOverride+xml"/>
  <Override PartName="/ppt/charts/chart10.xml" ContentType="application/vnd.openxmlformats-officedocument.drawingml.chart+xml"/>
  <Override PartName="/ppt/theme/themeOverride10.xml" ContentType="application/vnd.openxmlformats-officedocument.themeOverr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charts/chart11.xml" ContentType="application/vnd.openxmlformats-officedocument.drawingml.chart+xml"/>
  <Override PartName="/ppt/theme/themeOverride11.xml" ContentType="application/vnd.openxmlformats-officedocument.themeOverride+xml"/>
  <Override PartName="/ppt/charts/chart12.xml" ContentType="application/vnd.openxmlformats-officedocument.drawingml.chart+xml"/>
  <Override PartName="/ppt/theme/themeOverride12.xml" ContentType="application/vnd.openxmlformats-officedocument.themeOverr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charts/chart13.xml" ContentType="application/vnd.openxmlformats-officedocument.drawingml.chart+xml"/>
  <Override PartName="/ppt/theme/themeOverride13.xml" ContentType="application/vnd.openxmlformats-officedocument.themeOverride+xml"/>
  <Override PartName="/ppt/charts/chart14.xml" ContentType="application/vnd.openxmlformats-officedocument.drawingml.chart+xml"/>
  <Override PartName="/ppt/theme/themeOverride14.xml" ContentType="application/vnd.openxmlformats-officedocument.themeOverr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charts/chart15.xml" ContentType="application/vnd.openxmlformats-officedocument.drawingml.chart+xml"/>
  <Override PartName="/ppt/theme/themeOverride15.xml" ContentType="application/vnd.openxmlformats-officedocument.themeOverride+xml"/>
  <Override PartName="/ppt/charts/chart16.xml" ContentType="application/vnd.openxmlformats-officedocument.drawingml.chart+xml"/>
  <Override PartName="/ppt/theme/themeOverride16.xml" ContentType="application/vnd.openxmlformats-officedocument.themeOverr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charts/chart17.xml" ContentType="application/vnd.openxmlformats-officedocument.drawingml.chart+xml"/>
  <Override PartName="/ppt/theme/themeOverride17.xml" ContentType="application/vnd.openxmlformats-officedocument.themeOverride+xml"/>
  <Override PartName="/ppt/charts/chart18.xml" ContentType="application/vnd.openxmlformats-officedocument.drawingml.chart+xml"/>
  <Override PartName="/ppt/theme/themeOverride18.xml" ContentType="application/vnd.openxmlformats-officedocument.themeOverr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charts/chart19.xml" ContentType="application/vnd.openxmlformats-officedocument.drawingml.chart+xml"/>
  <Override PartName="/ppt/theme/themeOverride19.xml" ContentType="application/vnd.openxmlformats-officedocument.themeOverride+xml"/>
  <Override PartName="/ppt/charts/chart20.xml" ContentType="application/vnd.openxmlformats-officedocument.drawingml.chart+xml"/>
  <Override PartName="/ppt/theme/themeOverride20.xml" ContentType="application/vnd.openxmlformats-officedocument.themeOverr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charts/chart21.xml" ContentType="application/vnd.openxmlformats-officedocument.drawingml.chart+xml"/>
  <Override PartName="/ppt/theme/themeOverride21.xml" ContentType="application/vnd.openxmlformats-officedocument.themeOverride+xml"/>
  <Override PartName="/ppt/charts/chart22.xml" ContentType="application/vnd.openxmlformats-officedocument.drawingml.chart+xml"/>
  <Override PartName="/ppt/theme/themeOverride22.xml" ContentType="application/vnd.openxmlformats-officedocument.themeOverr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charts/chart23.xml" ContentType="application/vnd.openxmlformats-officedocument.drawingml.chart+xml"/>
  <Override PartName="/ppt/theme/themeOverride23.xml" ContentType="application/vnd.openxmlformats-officedocument.themeOverride+xml"/>
  <Override PartName="/ppt/charts/chart24.xml" ContentType="application/vnd.openxmlformats-officedocument.drawingml.chart+xml"/>
  <Override PartName="/ppt/theme/themeOverride24.xml" ContentType="application/vnd.openxmlformats-officedocument.themeOverr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charts/chart25.xml" ContentType="application/vnd.openxmlformats-officedocument.drawingml.chart+xml"/>
  <Override PartName="/ppt/theme/themeOverride25.xml" ContentType="application/vnd.openxmlformats-officedocument.themeOverride+xml"/>
  <Override PartName="/ppt/charts/chart26.xml" ContentType="application/vnd.openxmlformats-officedocument.drawingml.chart+xml"/>
  <Override PartName="/ppt/theme/themeOverride26.xml" ContentType="application/vnd.openxmlformats-officedocument.themeOverr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charts/chart27.xml" ContentType="application/vnd.openxmlformats-officedocument.drawingml.chart+xml"/>
  <Override PartName="/ppt/theme/themeOverride27.xml" ContentType="application/vnd.openxmlformats-officedocument.themeOverride+xml"/>
  <Override PartName="/ppt/charts/chart28.xml" ContentType="application/vnd.openxmlformats-officedocument.drawingml.chart+xml"/>
  <Override PartName="/ppt/theme/themeOverride28.xml" ContentType="application/vnd.openxmlformats-officedocument.themeOverrid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charts/chart29.xml" ContentType="application/vnd.openxmlformats-officedocument.drawingml.chart+xml"/>
  <Override PartName="/ppt/theme/themeOverride29.xml" ContentType="application/vnd.openxmlformats-officedocument.themeOverride+xml"/>
  <Override PartName="/ppt/charts/chart30.xml" ContentType="application/vnd.openxmlformats-officedocument.drawingml.chart+xml"/>
  <Override PartName="/ppt/theme/themeOverride30.xml" ContentType="application/vnd.openxmlformats-officedocument.themeOverrid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charts/chart31.xml" ContentType="application/vnd.openxmlformats-officedocument.drawingml.chart+xml"/>
  <Override PartName="/ppt/theme/themeOverride31.xml" ContentType="application/vnd.openxmlformats-officedocument.themeOverride+xml"/>
  <Override PartName="/ppt/charts/chart32.xml" ContentType="application/vnd.openxmlformats-officedocument.drawingml.chart+xml"/>
  <Override PartName="/ppt/theme/themeOverride32.xml" ContentType="application/vnd.openxmlformats-officedocument.themeOverrid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charts/chart33.xml" ContentType="application/vnd.openxmlformats-officedocument.drawingml.chart+xml"/>
  <Override PartName="/ppt/theme/themeOverride33.xml" ContentType="application/vnd.openxmlformats-officedocument.themeOverride+xml"/>
  <Override PartName="/ppt/charts/chart34.xml" ContentType="application/vnd.openxmlformats-officedocument.drawingml.chart+xml"/>
  <Override PartName="/ppt/theme/themeOverride34.xml" ContentType="application/vnd.openxmlformats-officedocument.themeOverrid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charts/chart35.xml" ContentType="application/vnd.openxmlformats-officedocument.drawingml.chart+xml"/>
  <Override PartName="/ppt/theme/themeOverride35.xml" ContentType="application/vnd.openxmlformats-officedocument.themeOverride+xml"/>
  <Override PartName="/ppt/charts/chart36.xml" ContentType="application/vnd.openxmlformats-officedocument.drawingml.chart+xml"/>
  <Override PartName="/ppt/theme/themeOverride36.xml" ContentType="application/vnd.openxmlformats-officedocument.themeOverrid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charts/chart37.xml" ContentType="application/vnd.openxmlformats-officedocument.drawingml.chart+xml"/>
  <Override PartName="/ppt/theme/themeOverride37.xml" ContentType="application/vnd.openxmlformats-officedocument.themeOverride+xml"/>
  <Override PartName="/ppt/charts/chart38.xml" ContentType="application/vnd.openxmlformats-officedocument.drawingml.chart+xml"/>
  <Override PartName="/ppt/theme/themeOverride38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  <p:sldMasterId id="2147483684" r:id="rId3"/>
  </p:sldMasterIdLst>
  <p:notesMasterIdLst>
    <p:notesMasterId r:id="rId27"/>
  </p:notesMasterIdLst>
  <p:sldIdLst>
    <p:sldId id="1624" r:id="rId4"/>
    <p:sldId id="4518" r:id="rId5"/>
    <p:sldId id="4519" r:id="rId6"/>
    <p:sldId id="4629" r:id="rId7"/>
    <p:sldId id="4630" r:id="rId8"/>
    <p:sldId id="4631" r:id="rId9"/>
    <p:sldId id="4632" r:id="rId10"/>
    <p:sldId id="4633" r:id="rId11"/>
    <p:sldId id="4634" r:id="rId12"/>
    <p:sldId id="4635" r:id="rId13"/>
    <p:sldId id="4636" r:id="rId14"/>
    <p:sldId id="4637" r:id="rId15"/>
    <p:sldId id="4638" r:id="rId16"/>
    <p:sldId id="4639" r:id="rId17"/>
    <p:sldId id="4640" r:id="rId18"/>
    <p:sldId id="4641" r:id="rId19"/>
    <p:sldId id="4644" r:id="rId20"/>
    <p:sldId id="4647" r:id="rId21"/>
    <p:sldId id="4648" r:id="rId22"/>
    <p:sldId id="4649" r:id="rId23"/>
    <p:sldId id="4650" r:id="rId24"/>
    <p:sldId id="4651" r:id="rId25"/>
    <p:sldId id="4652" r:id="rId26"/>
  </p:sldIdLst>
  <p:sldSz cx="12192000" cy="6858000"/>
  <p:notesSz cx="6858000" cy="9144000"/>
  <p:custDataLst>
    <p:tags r:id="rId2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70AD47"/>
    <a:srgbClr val="FFC000"/>
    <a:srgbClr val="D31145"/>
    <a:srgbClr val="EB4B0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958" autoAdjust="0"/>
    <p:restoredTop sz="94660"/>
  </p:normalViewPr>
  <p:slideViewPr>
    <p:cSldViewPr snapToGrid="0">
      <p:cViewPr varScale="1">
        <p:scale>
          <a:sx n="99" d="100"/>
          <a:sy n="99" d="100"/>
        </p:scale>
        <p:origin x="90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tags" Target="tags/tag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9.xlsx"/><Relationship Id="rId1" Type="http://schemas.openxmlformats.org/officeDocument/2006/relationships/themeOverride" Target="../theme/themeOverride10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0.xlsx"/><Relationship Id="rId1" Type="http://schemas.openxmlformats.org/officeDocument/2006/relationships/themeOverride" Target="../theme/themeOverride11.xm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1.xlsx"/><Relationship Id="rId1" Type="http://schemas.openxmlformats.org/officeDocument/2006/relationships/themeOverride" Target="../theme/themeOverride12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2.xlsx"/><Relationship Id="rId1" Type="http://schemas.openxmlformats.org/officeDocument/2006/relationships/themeOverride" Target="../theme/themeOverride13.xm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3.xlsx"/><Relationship Id="rId1" Type="http://schemas.openxmlformats.org/officeDocument/2006/relationships/themeOverride" Target="../theme/themeOverride14.xm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4.xlsx"/><Relationship Id="rId1" Type="http://schemas.openxmlformats.org/officeDocument/2006/relationships/themeOverride" Target="../theme/themeOverride15.xm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5.xlsx"/><Relationship Id="rId1" Type="http://schemas.openxmlformats.org/officeDocument/2006/relationships/themeOverride" Target="../theme/themeOverride16.xml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6.xlsx"/><Relationship Id="rId1" Type="http://schemas.openxmlformats.org/officeDocument/2006/relationships/themeOverride" Target="../theme/themeOverride17.xml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7.xlsx"/><Relationship Id="rId1" Type="http://schemas.openxmlformats.org/officeDocument/2006/relationships/themeOverride" Target="../theme/themeOverride18.xml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8.xlsx"/><Relationship Id="rId1" Type="http://schemas.openxmlformats.org/officeDocument/2006/relationships/themeOverride" Target="../theme/themeOverride19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9.xlsx"/><Relationship Id="rId1" Type="http://schemas.openxmlformats.org/officeDocument/2006/relationships/themeOverride" Target="../theme/themeOverride20.xml"/></Relationships>
</file>

<file path=ppt/charts/_rels/chart2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0.xlsx"/><Relationship Id="rId1" Type="http://schemas.openxmlformats.org/officeDocument/2006/relationships/themeOverride" Target="../theme/themeOverride21.xml"/></Relationships>
</file>

<file path=ppt/charts/_rels/chart2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1.xlsx"/><Relationship Id="rId1" Type="http://schemas.openxmlformats.org/officeDocument/2006/relationships/themeOverride" Target="../theme/themeOverride22.xml"/></Relationships>
</file>

<file path=ppt/charts/_rels/chart2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2.xlsx"/><Relationship Id="rId1" Type="http://schemas.openxmlformats.org/officeDocument/2006/relationships/themeOverride" Target="../theme/themeOverride23.xml"/></Relationships>
</file>

<file path=ppt/charts/_rels/chart2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3.xlsx"/><Relationship Id="rId1" Type="http://schemas.openxmlformats.org/officeDocument/2006/relationships/themeOverride" Target="../theme/themeOverride24.xml"/></Relationships>
</file>

<file path=ppt/charts/_rels/chart2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4.xlsx"/><Relationship Id="rId1" Type="http://schemas.openxmlformats.org/officeDocument/2006/relationships/themeOverride" Target="../theme/themeOverride25.xml"/></Relationships>
</file>

<file path=ppt/charts/_rels/chart2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5.xlsx"/><Relationship Id="rId1" Type="http://schemas.openxmlformats.org/officeDocument/2006/relationships/themeOverride" Target="../theme/themeOverride26.xml"/></Relationships>
</file>

<file path=ppt/charts/_rels/chart2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6.xlsx"/><Relationship Id="rId1" Type="http://schemas.openxmlformats.org/officeDocument/2006/relationships/themeOverride" Target="../theme/themeOverride27.xml"/></Relationships>
</file>

<file path=ppt/charts/_rels/chart2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7.xlsx"/><Relationship Id="rId1" Type="http://schemas.openxmlformats.org/officeDocument/2006/relationships/themeOverride" Target="../theme/themeOverride28.xml"/></Relationships>
</file>

<file path=ppt/charts/_rels/chart2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8.xlsx"/><Relationship Id="rId1" Type="http://schemas.openxmlformats.org/officeDocument/2006/relationships/themeOverride" Target="../theme/themeOverride29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3.xml"/></Relationships>
</file>

<file path=ppt/charts/_rels/chart3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9.xlsx"/><Relationship Id="rId1" Type="http://schemas.openxmlformats.org/officeDocument/2006/relationships/themeOverride" Target="../theme/themeOverride30.xml"/></Relationships>
</file>

<file path=ppt/charts/_rels/chart3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0.xlsx"/><Relationship Id="rId1" Type="http://schemas.openxmlformats.org/officeDocument/2006/relationships/themeOverride" Target="../theme/themeOverride31.xml"/></Relationships>
</file>

<file path=ppt/charts/_rels/chart3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1.xlsx"/><Relationship Id="rId1" Type="http://schemas.openxmlformats.org/officeDocument/2006/relationships/themeOverride" Target="../theme/themeOverride32.xml"/></Relationships>
</file>

<file path=ppt/charts/_rels/chart3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2.xlsx"/><Relationship Id="rId1" Type="http://schemas.openxmlformats.org/officeDocument/2006/relationships/themeOverride" Target="../theme/themeOverride33.xml"/></Relationships>
</file>

<file path=ppt/charts/_rels/chart3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3.xlsx"/><Relationship Id="rId1" Type="http://schemas.openxmlformats.org/officeDocument/2006/relationships/themeOverride" Target="../theme/themeOverride34.xml"/></Relationships>
</file>

<file path=ppt/charts/_rels/chart3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4.xlsx"/><Relationship Id="rId1" Type="http://schemas.openxmlformats.org/officeDocument/2006/relationships/themeOverride" Target="../theme/themeOverride35.xml"/></Relationships>
</file>

<file path=ppt/charts/_rels/chart3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5.xlsx"/><Relationship Id="rId1" Type="http://schemas.openxmlformats.org/officeDocument/2006/relationships/themeOverride" Target="../theme/themeOverride36.xml"/></Relationships>
</file>

<file path=ppt/charts/_rels/chart3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6.xlsx"/><Relationship Id="rId1" Type="http://schemas.openxmlformats.org/officeDocument/2006/relationships/themeOverride" Target="../theme/themeOverride37.xml"/></Relationships>
</file>

<file path=ppt/charts/_rels/chart3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7.xlsx"/><Relationship Id="rId1" Type="http://schemas.openxmlformats.org/officeDocument/2006/relationships/themeOverride" Target="../theme/themeOverride38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7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8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8.xlsx"/><Relationship Id="rId1" Type="http://schemas.openxmlformats.org/officeDocument/2006/relationships/themeOverride" Target="../theme/themeOverrid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pocet_PCR_testu_7dni_nyni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53</c:f>
              <c:numCache>
                <c:formatCode>m/d/yyyy</c:formatCode>
                <c:ptCount val="55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</c:numCache>
            </c:numRef>
          </c:cat>
          <c:val>
            <c:numRef>
              <c:f>Sheet1!$B$2:$B$553</c:f>
              <c:numCache>
                <c:formatCode>#\ ##0.0</c:formatCode>
                <c:ptCount val="552"/>
                <c:pt idx="0">
                  <c:v>560.07520993943297</c:v>
                </c:pt>
                <c:pt idx="1">
                  <c:v>587.40711939708694</c:v>
                </c:pt>
                <c:pt idx="2">
                  <c:v>609.30067969085803</c:v>
                </c:pt>
                <c:pt idx="3">
                  <c:v>635.70750913609902</c:v>
                </c:pt>
                <c:pt idx="4">
                  <c:v>644.07060621801395</c:v>
                </c:pt>
                <c:pt idx="5">
                  <c:v>649.59305356484197</c:v>
                </c:pt>
                <c:pt idx="6">
                  <c:v>670.45874717815502</c:v>
                </c:pt>
                <c:pt idx="7">
                  <c:v>716.97438659018906</c:v>
                </c:pt>
                <c:pt idx="8">
                  <c:v>751.52005129615304</c:v>
                </c:pt>
                <c:pt idx="9">
                  <c:v>797.97962525288995</c:v>
                </c:pt>
                <c:pt idx="10">
                  <c:v>849.96164655645498</c:v>
                </c:pt>
                <c:pt idx="11">
                  <c:v>904.61612122921201</c:v>
                </c:pt>
                <c:pt idx="12">
                  <c:v>928.47197245840505</c:v>
                </c:pt>
                <c:pt idx="13">
                  <c:v>983.74316713943801</c:v>
                </c:pt>
                <c:pt idx="14">
                  <c:v>1024.3532452601</c:v>
                </c:pt>
                <c:pt idx="15">
                  <c:v>1071.8219974122001</c:v>
                </c:pt>
                <c:pt idx="16">
                  <c:v>1137.97923466355</c:v>
                </c:pt>
                <c:pt idx="17">
                  <c:v>1160.05967980831</c:v>
                </c:pt>
                <c:pt idx="18">
                  <c:v>1177.94456004829</c:v>
                </c:pt>
                <c:pt idx="19">
                  <c:v>1210.37842593804</c:v>
                </c:pt>
                <c:pt idx="20">
                  <c:v>1228.0483885993799</c:v>
                </c:pt>
                <c:pt idx="21">
                  <c:v>1246.1668749031101</c:v>
                </c:pt>
                <c:pt idx="22">
                  <c:v>1263.52847756031</c:v>
                </c:pt>
                <c:pt idx="23">
                  <c:v>1259.51045326397</c:v>
                </c:pt>
                <c:pt idx="24">
                  <c:v>1274.0127177009899</c:v>
                </c:pt>
                <c:pt idx="25">
                  <c:v>1275.4797637812801</c:v>
                </c:pt>
                <c:pt idx="26">
                  <c:v>1274.6107492241699</c:v>
                </c:pt>
                <c:pt idx="27">
                  <c:v>1207.40695680726</c:v>
                </c:pt>
                <c:pt idx="28">
                  <c:v>1169.3011356898901</c:v>
                </c:pt>
                <c:pt idx="29">
                  <c:v>1156.65837552025</c:v>
                </c:pt>
                <c:pt idx="30">
                  <c:v>1163.7413113728601</c:v>
                </c:pt>
                <c:pt idx="31">
                  <c:v>1168.47884234552</c:v>
                </c:pt>
                <c:pt idx="32">
                  <c:v>1166.7314689887401</c:v>
                </c:pt>
                <c:pt idx="33">
                  <c:v>1141.5767680451499</c:v>
                </c:pt>
                <c:pt idx="34">
                  <c:v>1193.43731419557</c:v>
                </c:pt>
                <c:pt idx="35">
                  <c:v>1237.6449256978501</c:v>
                </c:pt>
                <c:pt idx="36">
                  <c:v>1265.2945394021899</c:v>
                </c:pt>
                <c:pt idx="37">
                  <c:v>1276.0591068193601</c:v>
                </c:pt>
                <c:pt idx="38">
                  <c:v>1314.4078782430199</c:v>
                </c:pt>
                <c:pt idx="39">
                  <c:v>1341.7210992155699</c:v>
                </c:pt>
                <c:pt idx="40">
                  <c:v>1376.5564354405799</c:v>
                </c:pt>
                <c:pt idx="41">
                  <c:v>1416.54979355297</c:v>
                </c:pt>
                <c:pt idx="42">
                  <c:v>1496.7701158415</c:v>
                </c:pt>
                <c:pt idx="43">
                  <c:v>1597.7626893178499</c:v>
                </c:pt>
                <c:pt idx="44">
                  <c:v>1688.71020205335</c:v>
                </c:pt>
                <c:pt idx="45">
                  <c:v>1791.3099852482401</c:v>
                </c:pt>
                <c:pt idx="46">
                  <c:v>1895.5450108893101</c:v>
                </c:pt>
                <c:pt idx="47">
                  <c:v>1949.1435861539601</c:v>
                </c:pt>
                <c:pt idx="48">
                  <c:v>2034.3350454788899</c:v>
                </c:pt>
                <c:pt idx="49">
                  <c:v>2118.05945872353</c:v>
                </c:pt>
                <c:pt idx="50">
                  <c:v>2215.1087618439401</c:v>
                </c:pt>
                <c:pt idx="51">
                  <c:v>2323.6795160280299</c:v>
                </c:pt>
                <c:pt idx="52">
                  <c:v>2384.6880756345399</c:v>
                </c:pt>
                <c:pt idx="53">
                  <c:v>2477.3175520289701</c:v>
                </c:pt>
                <c:pt idx="54">
                  <c:v>2517.9930398474899</c:v>
                </c:pt>
                <c:pt idx="55">
                  <c:v>2559.4067228274298</c:v>
                </c:pt>
                <c:pt idx="56">
                  <c:v>2623.8819964198401</c:v>
                </c:pt>
                <c:pt idx="57">
                  <c:v>2576.0207860806599</c:v>
                </c:pt>
                <c:pt idx="58">
                  <c:v>2540.0641407497001</c:v>
                </c:pt>
                <c:pt idx="59">
                  <c:v>2554.73460155262</c:v>
                </c:pt>
                <c:pt idx="60">
                  <c:v>2527.6736751289</c:v>
                </c:pt>
                <c:pt idx="61">
                  <c:v>2518.7966447067602</c:v>
                </c:pt>
                <c:pt idx="62">
                  <c:v>2491.98801283188</c:v>
                </c:pt>
                <c:pt idx="63">
                  <c:v>2453.0131771574002</c:v>
                </c:pt>
                <c:pt idx="64">
                  <c:v>2503.1076614659401</c:v>
                </c:pt>
                <c:pt idx="65">
                  <c:v>2509.2374845784898</c:v>
                </c:pt>
                <c:pt idx="66">
                  <c:v>2448.5279407335802</c:v>
                </c:pt>
                <c:pt idx="67">
                  <c:v>2354.5902703821898</c:v>
                </c:pt>
                <c:pt idx="68">
                  <c:v>2289.9654889089902</c:v>
                </c:pt>
                <c:pt idx="69">
                  <c:v>2268.8381565042801</c:v>
                </c:pt>
                <c:pt idx="70">
                  <c:v>2212.2774563513999</c:v>
                </c:pt>
                <c:pt idx="71">
                  <c:v>2095.0445893238102</c:v>
                </c:pt>
                <c:pt idx="72">
                  <c:v>1982.3623684178799</c:v>
                </c:pt>
                <c:pt idx="73">
                  <c:v>1898.00254667986</c:v>
                </c:pt>
                <c:pt idx="74">
                  <c:v>1804.0929090561301</c:v>
                </c:pt>
                <c:pt idx="75">
                  <c:v>1760.1189036175899</c:v>
                </c:pt>
                <c:pt idx="76">
                  <c:v>1719.00423639924</c:v>
                </c:pt>
                <c:pt idx="77">
                  <c:v>1535.07216605242</c:v>
                </c:pt>
                <c:pt idx="78">
                  <c:v>1456.52446318027</c:v>
                </c:pt>
                <c:pt idx="79">
                  <c:v>1414.75569898344</c:v>
                </c:pt>
                <c:pt idx="80">
                  <c:v>1363.89498678583</c:v>
                </c:pt>
                <c:pt idx="81">
                  <c:v>1348.86010052349</c:v>
                </c:pt>
                <c:pt idx="82">
                  <c:v>1332.1245621171099</c:v>
                </c:pt>
                <c:pt idx="83">
                  <c:v>1309.63297030016</c:v>
                </c:pt>
                <c:pt idx="84">
                  <c:v>1375.42578209207</c:v>
                </c:pt>
                <c:pt idx="85">
                  <c:v>1357.83991761368</c:v>
                </c:pt>
                <c:pt idx="86">
                  <c:v>1300.37282593348</c:v>
                </c:pt>
                <c:pt idx="87">
                  <c:v>1277.39533350395</c:v>
                </c:pt>
                <c:pt idx="88">
                  <c:v>1256.2586568567001</c:v>
                </c:pt>
                <c:pt idx="89">
                  <c:v>1248.97014766799</c:v>
                </c:pt>
                <c:pt idx="90">
                  <c:v>1235.94427355382</c:v>
                </c:pt>
                <c:pt idx="91">
                  <c:v>1222.42315458451</c:v>
                </c:pt>
                <c:pt idx="92">
                  <c:v>1222.6193836780501</c:v>
                </c:pt>
                <c:pt idx="93">
                  <c:v>1224.22659339659</c:v>
                </c:pt>
                <c:pt idx="94">
                  <c:v>1218.4518515009199</c:v>
                </c:pt>
                <c:pt idx="95">
                  <c:v>1224.63774006877</c:v>
                </c:pt>
                <c:pt idx="96">
                  <c:v>1226.92707949343</c:v>
                </c:pt>
                <c:pt idx="97">
                  <c:v>1232.9728044230401</c:v>
                </c:pt>
                <c:pt idx="98">
                  <c:v>1261.1083187399599</c:v>
                </c:pt>
                <c:pt idx="99">
                  <c:v>1285.3753166413301</c:v>
                </c:pt>
                <c:pt idx="100">
                  <c:v>1330.64817179427</c:v>
                </c:pt>
                <c:pt idx="101">
                  <c:v>1383.7982234165399</c:v>
                </c:pt>
                <c:pt idx="102">
                  <c:v>1412.79340804802</c:v>
                </c:pt>
                <c:pt idx="103">
                  <c:v>1434.1076253037199</c:v>
                </c:pt>
                <c:pt idx="104">
                  <c:v>1466.4854257381701</c:v>
                </c:pt>
                <c:pt idx="105">
                  <c:v>1522.3639961849301</c:v>
                </c:pt>
                <c:pt idx="106">
                  <c:v>1589.86680436342</c:v>
                </c:pt>
                <c:pt idx="107">
                  <c:v>1643.4280026578699</c:v>
                </c:pt>
                <c:pt idx="108">
                  <c:v>1695.31658153594</c:v>
                </c:pt>
                <c:pt idx="109">
                  <c:v>1744.4486088618701</c:v>
                </c:pt>
                <c:pt idx="110">
                  <c:v>1768.9865897971799</c:v>
                </c:pt>
                <c:pt idx="111">
                  <c:v>1798.4957077689</c:v>
                </c:pt>
                <c:pt idx="112">
                  <c:v>1836.93792161806</c:v>
                </c:pt>
                <c:pt idx="113">
                  <c:v>1924.5495397633399</c:v>
                </c:pt>
                <c:pt idx="114">
                  <c:v>1732.1515856665601</c:v>
                </c:pt>
                <c:pt idx="115">
                  <c:v>1487.3417751089301</c:v>
                </c:pt>
                <c:pt idx="116">
                  <c:v>1369.3239917071701</c:v>
                </c:pt>
                <c:pt idx="117">
                  <c:v>1358.8677842941399</c:v>
                </c:pt>
                <c:pt idx="118">
                  <c:v>1346.4025647329399</c:v>
                </c:pt>
                <c:pt idx="119">
                  <c:v>1344.4028968273201</c:v>
                </c:pt>
                <c:pt idx="120">
                  <c:v>1284.3474499608801</c:v>
                </c:pt>
                <c:pt idx="121">
                  <c:v>1445.0123563591301</c:v>
                </c:pt>
                <c:pt idx="122">
                  <c:v>1433.4815610528899</c:v>
                </c:pt>
                <c:pt idx="123">
                  <c:v>1477.71720528282</c:v>
                </c:pt>
                <c:pt idx="124">
                  <c:v>1522.9339949804501</c:v>
                </c:pt>
                <c:pt idx="125">
                  <c:v>1588.1381194917401</c:v>
                </c:pt>
                <c:pt idx="126">
                  <c:v>1662.3594380634099</c:v>
                </c:pt>
                <c:pt idx="127">
                  <c:v>1696.0921536675601</c:v>
                </c:pt>
                <c:pt idx="128">
                  <c:v>1799.50488596426</c:v>
                </c:pt>
                <c:pt idx="129">
                  <c:v>2100.1839227260998</c:v>
                </c:pt>
                <c:pt idx="130">
                  <c:v>2171.5272145924901</c:v>
                </c:pt>
                <c:pt idx="131">
                  <c:v>2143.4571099734098</c:v>
                </c:pt>
                <c:pt idx="132">
                  <c:v>2132.5243461903501</c:v>
                </c:pt>
                <c:pt idx="133">
                  <c:v>2060.98482523042</c:v>
                </c:pt>
                <c:pt idx="134">
                  <c:v>1998.6026619691199</c:v>
                </c:pt>
                <c:pt idx="135">
                  <c:v>1917.6067675489701</c:v>
                </c:pt>
                <c:pt idx="136">
                  <c:v>1846.9175726610599</c:v>
                </c:pt>
                <c:pt idx="137">
                  <c:v>1812.40928492529</c:v>
                </c:pt>
                <c:pt idx="138">
                  <c:v>1779.8913208526001</c:v>
                </c:pt>
                <c:pt idx="139">
                  <c:v>1740.6922233569201</c:v>
                </c:pt>
                <c:pt idx="140">
                  <c:v>1698.0637888455301</c:v>
                </c:pt>
                <c:pt idx="141">
                  <c:v>1664.1722211180399</c:v>
                </c:pt>
                <c:pt idx="142">
                  <c:v>1615.9465853194199</c:v>
                </c:pt>
                <c:pt idx="143">
                  <c:v>1608.48987976482</c:v>
                </c:pt>
                <c:pt idx="144">
                  <c:v>1578.0930587508899</c:v>
                </c:pt>
                <c:pt idx="145">
                  <c:v>1569.2627495414999</c:v>
                </c:pt>
                <c:pt idx="146">
                  <c:v>1545.4909964952501</c:v>
                </c:pt>
                <c:pt idx="147">
                  <c:v>1523.5413707461801</c:v>
                </c:pt>
                <c:pt idx="148">
                  <c:v>1539.8096970250799</c:v>
                </c:pt>
                <c:pt idx="149">
                  <c:v>1546.1170607460699</c:v>
                </c:pt>
                <c:pt idx="150">
                  <c:v>1554.88196025762</c:v>
                </c:pt>
                <c:pt idx="151">
                  <c:v>1557.61982332466</c:v>
                </c:pt>
                <c:pt idx="152">
                  <c:v>1555.2463857170601</c:v>
                </c:pt>
                <c:pt idx="153">
                  <c:v>1557.46097120132</c:v>
                </c:pt>
                <c:pt idx="154">
                  <c:v>1562.56292763342</c:v>
                </c:pt>
                <c:pt idx="155">
                  <c:v>1574.7945411308699</c:v>
                </c:pt>
                <c:pt idx="156">
                  <c:v>1592.8102407665499</c:v>
                </c:pt>
                <c:pt idx="157">
                  <c:v>1591.51139105215</c:v>
                </c:pt>
                <c:pt idx="158">
                  <c:v>1595.90318505048</c:v>
                </c:pt>
                <c:pt idx="159">
                  <c:v>1597.5944929519601</c:v>
                </c:pt>
                <c:pt idx="160">
                  <c:v>1579.83108786512</c:v>
                </c:pt>
                <c:pt idx="161">
                  <c:v>1592.73548682615</c:v>
                </c:pt>
                <c:pt idx="162">
                  <c:v>1575.28044174345</c:v>
                </c:pt>
                <c:pt idx="163">
                  <c:v>1579.9151860480699</c:v>
                </c:pt>
                <c:pt idx="164">
                  <c:v>1578.6724017889701</c:v>
                </c:pt>
                <c:pt idx="165">
                  <c:v>1593.2400759238301</c:v>
                </c:pt>
                <c:pt idx="166">
                  <c:v>1598.57563841967</c:v>
                </c:pt>
                <c:pt idx="167">
                  <c:v>1631.5327818922001</c:v>
                </c:pt>
                <c:pt idx="168">
                  <c:v>1661.1073095617601</c:v>
                </c:pt>
                <c:pt idx="169">
                  <c:v>1687.80381052604</c:v>
                </c:pt>
                <c:pt idx="170">
                  <c:v>1742.3274658031</c:v>
                </c:pt>
                <c:pt idx="171">
                  <c:v>1802.5604532779901</c:v>
                </c:pt>
                <c:pt idx="172">
                  <c:v>1824.5194232696099</c:v>
                </c:pt>
                <c:pt idx="173">
                  <c:v>1835.6016949334601</c:v>
                </c:pt>
                <c:pt idx="174">
                  <c:v>1880.18307613772</c:v>
                </c:pt>
                <c:pt idx="175">
                  <c:v>1939.7245896639399</c:v>
                </c:pt>
                <c:pt idx="176">
                  <c:v>2008.8065748333099</c:v>
                </c:pt>
                <c:pt idx="177">
                  <c:v>2061.9846591832302</c:v>
                </c:pt>
                <c:pt idx="178">
                  <c:v>2102.8470318527402</c:v>
                </c:pt>
                <c:pt idx="179">
                  <c:v>2142.6161281439499</c:v>
                </c:pt>
                <c:pt idx="180">
                  <c:v>2162.5193647746501</c:v>
                </c:pt>
                <c:pt idx="181">
                  <c:v>2173.89130795754</c:v>
                </c:pt>
                <c:pt idx="182">
                  <c:v>2208.12861265937</c:v>
                </c:pt>
                <c:pt idx="183">
                  <c:v>2217.2766261154502</c:v>
                </c:pt>
                <c:pt idx="184">
                  <c:v>2218.1082637023701</c:v>
                </c:pt>
                <c:pt idx="185">
                  <c:v>2226.6302129076298</c:v>
                </c:pt>
                <c:pt idx="186">
                  <c:v>2216.7440042901198</c:v>
                </c:pt>
                <c:pt idx="187">
                  <c:v>2211.0627048199499</c:v>
                </c:pt>
                <c:pt idx="188">
                  <c:v>2189.4307833175699</c:v>
                </c:pt>
                <c:pt idx="189">
                  <c:v>2147.45644578465</c:v>
                </c:pt>
                <c:pt idx="190">
                  <c:v>2145.8212033384698</c:v>
                </c:pt>
                <c:pt idx="191">
                  <c:v>2103.0526051888301</c:v>
                </c:pt>
                <c:pt idx="192">
                  <c:v>2074.6741405656198</c:v>
                </c:pt>
                <c:pt idx="193">
                  <c:v>2035.70864913369</c:v>
                </c:pt>
                <c:pt idx="194">
                  <c:v>2009.43263908414</c:v>
                </c:pt>
                <c:pt idx="195">
                  <c:v>2015.6932815923899</c:v>
                </c:pt>
                <c:pt idx="196">
                  <c:v>1990.24890912976</c:v>
                </c:pt>
                <c:pt idx="197">
                  <c:v>1928.18445011515</c:v>
                </c:pt>
                <c:pt idx="198">
                  <c:v>1886.76142289266</c:v>
                </c:pt>
                <c:pt idx="199">
                  <c:v>1815.11911526468</c:v>
                </c:pt>
                <c:pt idx="200">
                  <c:v>1808.2884739609101</c:v>
                </c:pt>
                <c:pt idx="201">
                  <c:v>1805.1674969493299</c:v>
                </c:pt>
                <c:pt idx="202">
                  <c:v>1768.91183585679</c:v>
                </c:pt>
                <c:pt idx="203">
                  <c:v>1733.1981408321201</c:v>
                </c:pt>
                <c:pt idx="204">
                  <c:v>1675.95531097312</c:v>
                </c:pt>
                <c:pt idx="205">
                  <c:v>1646.81061846084</c:v>
                </c:pt>
                <c:pt idx="206">
                  <c:v>1600.1921923807599</c:v>
                </c:pt>
                <c:pt idx="207">
                  <c:v>1558.32064151589</c:v>
                </c:pt>
                <c:pt idx="208">
                  <c:v>1542.9587067642999</c:v>
                </c:pt>
                <c:pt idx="209">
                  <c:v>1518.69170886292</c:v>
                </c:pt>
                <c:pt idx="210">
                  <c:v>1475.9885204111399</c:v>
                </c:pt>
                <c:pt idx="211">
                  <c:v>1455.33774437647</c:v>
                </c:pt>
                <c:pt idx="212">
                  <c:v>1428.2861621953</c:v>
                </c:pt>
                <c:pt idx="213">
                  <c:v>1311.6980479036299</c:v>
                </c:pt>
                <c:pt idx="214">
                  <c:v>1271.97567282517</c:v>
                </c:pt>
                <c:pt idx="215">
                  <c:v>1279.32959171173</c:v>
                </c:pt>
                <c:pt idx="216">
                  <c:v>1098.0232535213499</c:v>
                </c:pt>
                <c:pt idx="217">
                  <c:v>1067.26200704798</c:v>
                </c:pt>
                <c:pt idx="218">
                  <c:v>1083.9788569692601</c:v>
                </c:pt>
                <c:pt idx="219">
                  <c:v>1060.66497180795</c:v>
                </c:pt>
                <c:pt idx="220">
                  <c:v>1136.35333645991</c:v>
                </c:pt>
                <c:pt idx="221">
                  <c:v>1162.02197074373</c:v>
                </c:pt>
                <c:pt idx="222">
                  <c:v>1150.5285524076901</c:v>
                </c:pt>
                <c:pt idx="223">
                  <c:v>1280.5723759708301</c:v>
                </c:pt>
                <c:pt idx="224">
                  <c:v>1267.4156824609499</c:v>
                </c:pt>
                <c:pt idx="225">
                  <c:v>1204.08975070214</c:v>
                </c:pt>
                <c:pt idx="226">
                  <c:v>1158.6954203960699</c:v>
                </c:pt>
                <c:pt idx="227">
                  <c:v>1125.6261460129399</c:v>
                </c:pt>
                <c:pt idx="228">
                  <c:v>1112.8805991752499</c:v>
                </c:pt>
                <c:pt idx="229">
                  <c:v>1115.8987895187799</c:v>
                </c:pt>
                <c:pt idx="230">
                  <c:v>1116.7397713482501</c:v>
                </c:pt>
                <c:pt idx="231">
                  <c:v>1098.36899049569</c:v>
                </c:pt>
                <c:pt idx="232">
                  <c:v>1081.5773866340101</c:v>
                </c:pt>
                <c:pt idx="233">
                  <c:v>1087.8940945975601</c:v>
                </c:pt>
                <c:pt idx="234">
                  <c:v>1078.8862447797201</c:v>
                </c:pt>
                <c:pt idx="235">
                  <c:v>1073.87773077312</c:v>
                </c:pt>
                <c:pt idx="236">
                  <c:v>1066.53315612911</c:v>
                </c:pt>
                <c:pt idx="237">
                  <c:v>1061.1975936332799</c:v>
                </c:pt>
                <c:pt idx="238">
                  <c:v>1040.52812911351</c:v>
                </c:pt>
                <c:pt idx="239">
                  <c:v>1045.4432006946099</c:v>
                </c:pt>
                <c:pt idx="240">
                  <c:v>1052.40466139408</c:v>
                </c:pt>
                <c:pt idx="241">
                  <c:v>1063.1038191134</c:v>
                </c:pt>
                <c:pt idx="242">
                  <c:v>1073.42920713074</c:v>
                </c:pt>
                <c:pt idx="243">
                  <c:v>1076.9613308144901</c:v>
                </c:pt>
                <c:pt idx="244">
                  <c:v>1064.4213573129</c:v>
                </c:pt>
                <c:pt idx="245">
                  <c:v>1061.3097245438701</c:v>
                </c:pt>
                <c:pt idx="246">
                  <c:v>1032.6883096143699</c:v>
                </c:pt>
                <c:pt idx="247">
                  <c:v>1004.80508984629</c:v>
                </c:pt>
                <c:pt idx="248">
                  <c:v>991.85396967251302</c:v>
                </c:pt>
                <c:pt idx="249">
                  <c:v>1008.76704868733</c:v>
                </c:pt>
                <c:pt idx="250">
                  <c:v>1009.71081718484</c:v>
                </c:pt>
                <c:pt idx="251">
                  <c:v>1033.3891278055901</c:v>
                </c:pt>
                <c:pt idx="252">
                  <c:v>1011.8880256989</c:v>
                </c:pt>
                <c:pt idx="253">
                  <c:v>998.67526673373902</c:v>
                </c:pt>
                <c:pt idx="254">
                  <c:v>983.68710168413998</c:v>
                </c:pt>
                <c:pt idx="255">
                  <c:v>978.13662160966305</c:v>
                </c:pt>
                <c:pt idx="256">
                  <c:v>1005.5152522800601</c:v>
                </c:pt>
                <c:pt idx="257">
                  <c:v>1017.0834245564999</c:v>
                </c:pt>
                <c:pt idx="258">
                  <c:v>1150.3790445269001</c:v>
                </c:pt>
                <c:pt idx="259">
                  <c:v>1217.90988543304</c:v>
                </c:pt>
                <c:pt idx="260">
                  <c:v>1311.5298515377301</c:v>
                </c:pt>
                <c:pt idx="261">
                  <c:v>1358.47532610705</c:v>
                </c:pt>
                <c:pt idx="262">
                  <c:v>1454.6462704277899</c:v>
                </c:pt>
                <c:pt idx="263">
                  <c:v>1406.39260190153</c:v>
                </c:pt>
                <c:pt idx="264">
                  <c:v>1381.57429368973</c:v>
                </c:pt>
                <c:pt idx="265">
                  <c:v>1323.6493341246</c:v>
                </c:pt>
                <c:pt idx="266">
                  <c:v>1292.7198912853401</c:v>
                </c:pt>
                <c:pt idx="267">
                  <c:v>1260.23930418284</c:v>
                </c:pt>
                <c:pt idx="268">
                  <c:v>1241.33590150495</c:v>
                </c:pt>
                <c:pt idx="269">
                  <c:v>1188.02699775934</c:v>
                </c:pt>
                <c:pt idx="270">
                  <c:v>1179.29013097544</c:v>
                </c:pt>
                <c:pt idx="271">
                  <c:v>1179.6545564348701</c:v>
                </c:pt>
                <c:pt idx="272">
                  <c:v>1161.72295498214</c:v>
                </c:pt>
                <c:pt idx="273">
                  <c:v>1202.54795068146</c:v>
                </c:pt>
                <c:pt idx="274">
                  <c:v>1244.2139282102401</c:v>
                </c:pt>
                <c:pt idx="275">
                  <c:v>1327.09735962541</c:v>
                </c:pt>
                <c:pt idx="276">
                  <c:v>1370.62284142156</c:v>
                </c:pt>
                <c:pt idx="277">
                  <c:v>1399.5245836275601</c:v>
                </c:pt>
                <c:pt idx="278">
                  <c:v>1412.8775062309701</c:v>
                </c:pt>
                <c:pt idx="279">
                  <c:v>1445.38612606112</c:v>
                </c:pt>
                <c:pt idx="280">
                  <c:v>1424.97830033273</c:v>
                </c:pt>
                <c:pt idx="281">
                  <c:v>1464.29887298156</c:v>
                </c:pt>
                <c:pt idx="282">
                  <c:v>1414.5594698898999</c:v>
                </c:pt>
                <c:pt idx="283">
                  <c:v>1428.14599855706</c:v>
                </c:pt>
                <c:pt idx="284">
                  <c:v>1430.6969767731</c:v>
                </c:pt>
                <c:pt idx="285">
                  <c:v>1436.5090956389699</c:v>
                </c:pt>
                <c:pt idx="286">
                  <c:v>1454.5341395171999</c:v>
                </c:pt>
                <c:pt idx="287">
                  <c:v>1493.63045034483</c:v>
                </c:pt>
                <c:pt idx="288">
                  <c:v>1497.1812625136899</c:v>
                </c:pt>
                <c:pt idx="289">
                  <c:v>1573.06585625919</c:v>
                </c:pt>
                <c:pt idx="290">
                  <c:v>1659.3132149922301</c:v>
                </c:pt>
                <c:pt idx="291">
                  <c:v>1670.51696180923</c:v>
                </c:pt>
                <c:pt idx="292">
                  <c:v>1674.41351095243</c:v>
                </c:pt>
                <c:pt idx="293">
                  <c:v>1648.2309433283799</c:v>
                </c:pt>
                <c:pt idx="294">
                  <c:v>1624.70214058842</c:v>
                </c:pt>
                <c:pt idx="295">
                  <c:v>1562.2919445994801</c:v>
                </c:pt>
                <c:pt idx="296">
                  <c:v>1569.5617653030799</c:v>
                </c:pt>
                <c:pt idx="297">
                  <c:v>1483.5106356635899</c:v>
                </c:pt>
                <c:pt idx="298">
                  <c:v>1580.5319060563399</c:v>
                </c:pt>
                <c:pt idx="299">
                  <c:v>1587.0635315985301</c:v>
                </c:pt>
                <c:pt idx="300">
                  <c:v>1601.1826820910201</c:v>
                </c:pt>
                <c:pt idx="301">
                  <c:v>1777.71411233853</c:v>
                </c:pt>
                <c:pt idx="302">
                  <c:v>1917.86840634036</c:v>
                </c:pt>
                <c:pt idx="303">
                  <c:v>2096.2967178254598</c:v>
                </c:pt>
                <c:pt idx="304">
                  <c:v>2298.5715362971901</c:v>
                </c:pt>
                <c:pt idx="305">
                  <c:v>2428.87699865171</c:v>
                </c:pt>
                <c:pt idx="306">
                  <c:v>2476.8970611142399</c:v>
                </c:pt>
                <c:pt idx="307">
                  <c:v>2291.94646832951</c:v>
                </c:pt>
                <c:pt idx="308">
                  <c:v>1970.0746894651199</c:v>
                </c:pt>
                <c:pt idx="309">
                  <c:v>1825.0894220651301</c:v>
                </c:pt>
                <c:pt idx="310">
                  <c:v>1664.1254999052901</c:v>
                </c:pt>
                <c:pt idx="311">
                  <c:v>1551.26573839092</c:v>
                </c:pt>
                <c:pt idx="312">
                  <c:v>1438.0976168724101</c:v>
                </c:pt>
                <c:pt idx="313">
                  <c:v>1451.5252934162199</c:v>
                </c:pt>
                <c:pt idx="314">
                  <c:v>1616.5633053276999</c:v>
                </c:pt>
                <c:pt idx="315">
                  <c:v>1814.66124737975</c:v>
                </c:pt>
                <c:pt idx="316">
                  <c:v>1866.7460553513599</c:v>
                </c:pt>
                <c:pt idx="317">
                  <c:v>1919.6998778800901</c:v>
                </c:pt>
                <c:pt idx="318">
                  <c:v>2004.6857638689301</c:v>
                </c:pt>
                <c:pt idx="319">
                  <c:v>2066.7595671260901</c:v>
                </c:pt>
                <c:pt idx="320">
                  <c:v>2064.7598992204698</c:v>
                </c:pt>
                <c:pt idx="321">
                  <c:v>2066.6380919729399</c:v>
                </c:pt>
                <c:pt idx="322">
                  <c:v>2064.55432588438</c:v>
                </c:pt>
                <c:pt idx="323">
                  <c:v>2066.4979283347002</c:v>
                </c:pt>
                <c:pt idx="324">
                  <c:v>2074.7395502634699</c:v>
                </c:pt>
                <c:pt idx="325">
                  <c:v>2077.5615115134601</c:v>
                </c:pt>
                <c:pt idx="326">
                  <c:v>2063.69465556981</c:v>
                </c:pt>
                <c:pt idx="327">
                  <c:v>2077.3372496922698</c:v>
                </c:pt>
                <c:pt idx="328">
                  <c:v>2090.8209916913702</c:v>
                </c:pt>
                <c:pt idx="329">
                  <c:v>2135.0379474361998</c:v>
                </c:pt>
                <c:pt idx="330">
                  <c:v>2168.2567297001201</c:v>
                </c:pt>
                <c:pt idx="331">
                  <c:v>2181.8152256396202</c:v>
                </c:pt>
                <c:pt idx="332">
                  <c:v>2222.82710618993</c:v>
                </c:pt>
                <c:pt idx="333">
                  <c:v>2283.6020597326901</c:v>
                </c:pt>
                <c:pt idx="334">
                  <c:v>2280.5932136317101</c:v>
                </c:pt>
                <c:pt idx="335">
                  <c:v>2301.4308745173798</c:v>
                </c:pt>
                <c:pt idx="336">
                  <c:v>2342.2558702166898</c:v>
                </c:pt>
                <c:pt idx="337">
                  <c:v>2325.7352493889498</c:v>
                </c:pt>
                <c:pt idx="338">
                  <c:v>2333.95818283262</c:v>
                </c:pt>
                <c:pt idx="339">
                  <c:v>2350.9366715452902</c:v>
                </c:pt>
                <c:pt idx="340">
                  <c:v>2362.4674668515299</c:v>
                </c:pt>
                <c:pt idx="341">
                  <c:v>2403.2177086104398</c:v>
                </c:pt>
                <c:pt idx="342">
                  <c:v>2400.3023049349599</c:v>
                </c:pt>
                <c:pt idx="343">
                  <c:v>2387.10823445489</c:v>
                </c:pt>
                <c:pt idx="344">
                  <c:v>2401.7319740450498</c:v>
                </c:pt>
                <c:pt idx="345">
                  <c:v>2388.7901981138202</c:v>
                </c:pt>
                <c:pt idx="346">
                  <c:v>2394.95739819657</c:v>
                </c:pt>
                <c:pt idx="347">
                  <c:v>2408.0673704936999</c:v>
                </c:pt>
                <c:pt idx="348">
                  <c:v>2379.0721858622101</c:v>
                </c:pt>
                <c:pt idx="349">
                  <c:v>2394.5836284945899</c:v>
                </c:pt>
                <c:pt idx="350">
                  <c:v>2353.4035515783899</c:v>
                </c:pt>
                <c:pt idx="351">
                  <c:v>2345.8440593557398</c:v>
                </c:pt>
                <c:pt idx="352">
                  <c:v>2323.2683693558502</c:v>
                </c:pt>
                <c:pt idx="353">
                  <c:v>2261.61505701342</c:v>
                </c:pt>
                <c:pt idx="354">
                  <c:v>2168.3408278830698</c:v>
                </c:pt>
                <c:pt idx="355">
                  <c:v>2166.7523066496301</c:v>
                </c:pt>
                <c:pt idx="356">
                  <c:v>2131.1787752632099</c:v>
                </c:pt>
                <c:pt idx="357">
                  <c:v>2089.8491904662101</c:v>
                </c:pt>
                <c:pt idx="358">
                  <c:v>2038.41847947308</c:v>
                </c:pt>
                <c:pt idx="359">
                  <c:v>1970.8969828094901</c:v>
                </c:pt>
                <c:pt idx="360">
                  <c:v>1816.79173468107</c:v>
                </c:pt>
                <c:pt idx="361">
                  <c:v>1702.7452543628899</c:v>
                </c:pt>
                <c:pt idx="362">
                  <c:v>1642.7832499219501</c:v>
                </c:pt>
                <c:pt idx="363">
                  <c:v>1609.4803694750799</c:v>
                </c:pt>
                <c:pt idx="364">
                  <c:v>1700.4839476658799</c:v>
                </c:pt>
                <c:pt idx="365">
                  <c:v>1909.7015383519899</c:v>
                </c:pt>
                <c:pt idx="366">
                  <c:v>2205.11042231584</c:v>
                </c:pt>
                <c:pt idx="367">
                  <c:v>2140.28941174909</c:v>
                </c:pt>
                <c:pt idx="368">
                  <c:v>2133.1223777135301</c:v>
                </c:pt>
                <c:pt idx="369">
                  <c:v>2122.20830241557</c:v>
                </c:pt>
                <c:pt idx="370">
                  <c:v>2305.8880782135502</c:v>
                </c:pt>
                <c:pt idx="371">
                  <c:v>2346.1991405726299</c:v>
                </c:pt>
                <c:pt idx="372">
                  <c:v>2153.13774525483</c:v>
                </c:pt>
                <c:pt idx="373">
                  <c:v>1843.1238101859101</c:v>
                </c:pt>
                <c:pt idx="374">
                  <c:v>1893.6107526815399</c:v>
                </c:pt>
                <c:pt idx="375">
                  <c:v>1894.6386193619901</c:v>
                </c:pt>
                <c:pt idx="376">
                  <c:v>1891.42419992492</c:v>
                </c:pt>
                <c:pt idx="377">
                  <c:v>1650.41749608499</c:v>
                </c:pt>
                <c:pt idx="378">
                  <c:v>1457.8233128946699</c:v>
                </c:pt>
                <c:pt idx="379">
                  <c:v>1414.4286504942099</c:v>
                </c:pt>
                <c:pt idx="380">
                  <c:v>1390.12427562263</c:v>
                </c:pt>
                <c:pt idx="381">
                  <c:v>1389.3487034910099</c:v>
                </c:pt>
                <c:pt idx="382">
                  <c:v>1387.9657555936701</c:v>
                </c:pt>
                <c:pt idx="383">
                  <c:v>1385.1437943436799</c:v>
                </c:pt>
                <c:pt idx="384">
                  <c:v>1407.59800919043</c:v>
                </c:pt>
                <c:pt idx="385">
                  <c:v>1418.83913297763</c:v>
                </c:pt>
                <c:pt idx="386">
                  <c:v>1442.6108860238801</c:v>
                </c:pt>
                <c:pt idx="387">
                  <c:v>1514.5335209283401</c:v>
                </c:pt>
                <c:pt idx="388">
                  <c:v>1578.1958454189401</c:v>
                </c:pt>
                <c:pt idx="389">
                  <c:v>1595.5107268633899</c:v>
                </c:pt>
                <c:pt idx="390">
                  <c:v>1597.3141656754699</c:v>
                </c:pt>
                <c:pt idx="391">
                  <c:v>1595.5481038335899</c:v>
                </c:pt>
                <c:pt idx="392">
                  <c:v>1506.36665293997</c:v>
                </c:pt>
                <c:pt idx="393">
                  <c:v>1463.9437917646701</c:v>
                </c:pt>
                <c:pt idx="394">
                  <c:v>1432.9956604403101</c:v>
                </c:pt>
                <c:pt idx="395">
                  <c:v>1366.5207189422799</c:v>
                </c:pt>
                <c:pt idx="396">
                  <c:v>1325.28457657078</c:v>
                </c:pt>
                <c:pt idx="397">
                  <c:v>1323.00458138867</c:v>
                </c:pt>
                <c:pt idx="398">
                  <c:v>1300.16725259739</c:v>
                </c:pt>
                <c:pt idx="399">
                  <c:v>1374.06152267983</c:v>
                </c:pt>
                <c:pt idx="400">
                  <c:v>1386.53608648358</c:v>
                </c:pt>
                <c:pt idx="401">
                  <c:v>1337.8432385574799</c:v>
                </c:pt>
                <c:pt idx="402">
                  <c:v>1322.7990080525799</c:v>
                </c:pt>
                <c:pt idx="403">
                  <c:v>1330.3211233050299</c:v>
                </c:pt>
                <c:pt idx="404">
                  <c:v>1329.7885014797</c:v>
                </c:pt>
                <c:pt idx="405">
                  <c:v>1325.99473900455</c:v>
                </c:pt>
                <c:pt idx="406">
                  <c:v>1346.9445308008101</c:v>
                </c:pt>
                <c:pt idx="407">
                  <c:v>1428.56648947179</c:v>
                </c:pt>
                <c:pt idx="408">
                  <c:v>1472.5218064252299</c:v>
                </c:pt>
                <c:pt idx="409">
                  <c:v>1516.60794277436</c:v>
                </c:pt>
                <c:pt idx="410">
                  <c:v>1538.7351091318701</c:v>
                </c:pt>
                <c:pt idx="411">
                  <c:v>1560.60063669799</c:v>
                </c:pt>
                <c:pt idx="412">
                  <c:v>1614.8533089411201</c:v>
                </c:pt>
                <c:pt idx="413">
                  <c:v>1699.36263855993</c:v>
                </c:pt>
                <c:pt idx="414">
                  <c:v>1725.49848497123</c:v>
                </c:pt>
                <c:pt idx="415">
                  <c:v>1843.83397261968</c:v>
                </c:pt>
                <c:pt idx="416">
                  <c:v>1968.5609221720799</c:v>
                </c:pt>
                <c:pt idx="417">
                  <c:v>2084.4762510001801</c:v>
                </c:pt>
                <c:pt idx="418">
                  <c:v>2148.9048033798399</c:v>
                </c:pt>
                <c:pt idx="419">
                  <c:v>2272.0992971541</c:v>
                </c:pt>
                <c:pt idx="420">
                  <c:v>2532.4485830717599</c:v>
                </c:pt>
                <c:pt idx="421">
                  <c:v>2811.0471746888302</c:v>
                </c:pt>
                <c:pt idx="422">
                  <c:v>2814.53257715984</c:v>
                </c:pt>
                <c:pt idx="423">
                  <c:v>2810.4491431656602</c:v>
                </c:pt>
                <c:pt idx="424">
                  <c:v>2884.9601332563702</c:v>
                </c:pt>
                <c:pt idx="425">
                  <c:v>2955.1821160168001</c:v>
                </c:pt>
                <c:pt idx="426">
                  <c:v>3177.6124656680799</c:v>
                </c:pt>
                <c:pt idx="427">
                  <c:v>3163.0915127459598</c:v>
                </c:pt>
                <c:pt idx="428">
                  <c:v>2963.0125912733902</c:v>
                </c:pt>
                <c:pt idx="429">
                  <c:v>2976.6178084256399</c:v>
                </c:pt>
                <c:pt idx="430">
                  <c:v>3027.49720910835</c:v>
                </c:pt>
                <c:pt idx="431">
                  <c:v>3000.0251360124498</c:v>
                </c:pt>
                <c:pt idx="432">
                  <c:v>2940.4275570309401</c:v>
                </c:pt>
                <c:pt idx="433">
                  <c:v>2806.0666934098799</c:v>
                </c:pt>
                <c:pt idx="434">
                  <c:v>2891.8281515303402</c:v>
                </c:pt>
                <c:pt idx="435">
                  <c:v>3090.9259275352101</c:v>
                </c:pt>
                <c:pt idx="436">
                  <c:v>3282.7165058662599</c:v>
                </c:pt>
                <c:pt idx="437">
                  <c:v>3495.12048326179</c:v>
                </c:pt>
                <c:pt idx="438">
                  <c:v>3597.0568252356502</c:v>
                </c:pt>
                <c:pt idx="439">
                  <c:v>3691.25613437843</c:v>
                </c:pt>
                <c:pt idx="440">
                  <c:v>3850.2857983304998</c:v>
                </c:pt>
                <c:pt idx="441">
                  <c:v>4096.5065895131202</c:v>
                </c:pt>
                <c:pt idx="442">
                  <c:v>4075.40728983607</c:v>
                </c:pt>
                <c:pt idx="443">
                  <c:v>4076.7808934908599</c:v>
                </c:pt>
                <c:pt idx="444">
                  <c:v>4249.9951176332597</c:v>
                </c:pt>
                <c:pt idx="445">
                  <c:v>4435.0952182987903</c:v>
                </c:pt>
                <c:pt idx="446">
                  <c:v>4507.4476883605403</c:v>
                </c:pt>
                <c:pt idx="447">
                  <c:v>4612.9254982606999</c:v>
                </c:pt>
                <c:pt idx="448">
                  <c:v>4698.2851539515304</c:v>
                </c:pt>
                <c:pt idx="449">
                  <c:v>5068.1489625507902</c:v>
                </c:pt>
                <c:pt idx="450">
                  <c:v>5411.1293853347897</c:v>
                </c:pt>
                <c:pt idx="451">
                  <c:v>5488.5931560711797</c:v>
                </c:pt>
                <c:pt idx="452">
                  <c:v>5569.1031498787497</c:v>
                </c:pt>
                <c:pt idx="453">
                  <c:v>5697.84812372748</c:v>
                </c:pt>
                <c:pt idx="454">
                  <c:v>5781.8902412188099</c:v>
                </c:pt>
                <c:pt idx="455">
                  <c:v>5869.0066145089704</c:v>
                </c:pt>
                <c:pt idx="456">
                  <c:v>5861.1667950098299</c:v>
                </c:pt>
                <c:pt idx="457">
                  <c:v>5862.8954798815103</c:v>
                </c:pt>
                <c:pt idx="458">
                  <c:v>5862.5030216944297</c:v>
                </c:pt>
                <c:pt idx="459">
                  <c:v>5838.4789740993401</c:v>
                </c:pt>
                <c:pt idx="460">
                  <c:v>5739.2898394350696</c:v>
                </c:pt>
                <c:pt idx="461">
                  <c:v>5740.2990176304302</c:v>
                </c:pt>
                <c:pt idx="462">
                  <c:v>5648.0246224528801</c:v>
                </c:pt>
                <c:pt idx="463">
                  <c:v>5537.3981349078704</c:v>
                </c:pt>
                <c:pt idx="464">
                  <c:v>5409.8492241054901</c:v>
                </c:pt>
                <c:pt idx="465">
                  <c:v>5291.2240649380001</c:v>
                </c:pt>
                <c:pt idx="466">
                  <c:v>5205.3130989367401</c:v>
                </c:pt>
                <c:pt idx="467">
                  <c:v>5103.4982321160296</c:v>
                </c:pt>
                <c:pt idx="468">
                  <c:v>5063.23389096969</c:v>
                </c:pt>
                <c:pt idx="469">
                  <c:v>4993.6660051877298</c:v>
                </c:pt>
                <c:pt idx="470">
                  <c:v>4869.2661041245701</c:v>
                </c:pt>
                <c:pt idx="471">
                  <c:v>4784.0839890421903</c:v>
                </c:pt>
                <c:pt idx="472">
                  <c:v>4687.8943562363502</c:v>
                </c:pt>
                <c:pt idx="473">
                  <c:v>4567.3723158312796</c:v>
                </c:pt>
                <c:pt idx="474">
                  <c:v>4579.9122893328804</c:v>
                </c:pt>
                <c:pt idx="475">
                  <c:v>4490.5719863159102</c:v>
                </c:pt>
                <c:pt idx="476">
                  <c:v>4357.71554574534</c:v>
                </c:pt>
                <c:pt idx="477">
                  <c:v>4388.2899073677199</c:v>
                </c:pt>
                <c:pt idx="478">
                  <c:v>4489.9646105501897</c:v>
                </c:pt>
                <c:pt idx="479">
                  <c:v>3965.2106374483401</c:v>
                </c:pt>
                <c:pt idx="480">
                  <c:v>3627.28544988369</c:v>
                </c:pt>
                <c:pt idx="481">
                  <c:v>3546.3362766762898</c:v>
                </c:pt>
                <c:pt idx="482">
                  <c:v>3382.3635084154698</c:v>
                </c:pt>
                <c:pt idx="483">
                  <c:v>3166.20314551499</c:v>
                </c:pt>
                <c:pt idx="484">
                  <c:v>2841.9018635877001</c:v>
                </c:pt>
                <c:pt idx="485">
                  <c:v>2376.6707155269601</c:v>
                </c:pt>
                <c:pt idx="486">
                  <c:v>2514.4235391935299</c:v>
                </c:pt>
                <c:pt idx="487">
                  <c:v>2468.52461978977</c:v>
                </c:pt>
                <c:pt idx="488">
                  <c:v>2454.8259602120202</c:v>
                </c:pt>
                <c:pt idx="489">
                  <c:v>2619.32200605562</c:v>
                </c:pt>
                <c:pt idx="490">
                  <c:v>2732.4901275741399</c:v>
                </c:pt>
                <c:pt idx="491">
                  <c:v>2821.5687917997102</c:v>
                </c:pt>
                <c:pt idx="492">
                  <c:v>2986.8217212898298</c:v>
                </c:pt>
                <c:pt idx="493">
                  <c:v>3293.4997617685299</c:v>
                </c:pt>
                <c:pt idx="494">
                  <c:v>3589.39454634496</c:v>
                </c:pt>
                <c:pt idx="495">
                  <c:v>3629.2477408191098</c:v>
                </c:pt>
                <c:pt idx="496">
                  <c:v>3612.52154665528</c:v>
                </c:pt>
                <c:pt idx="497">
                  <c:v>3673.4460080788399</c:v>
                </c:pt>
                <c:pt idx="498">
                  <c:v>3783.6239719814698</c:v>
                </c:pt>
                <c:pt idx="499">
                  <c:v>3903.3424075272701</c:v>
                </c:pt>
                <c:pt idx="500">
                  <c:v>4028.20017647536</c:v>
                </c:pt>
                <c:pt idx="501">
                  <c:v>4223.9059924347102</c:v>
                </c:pt>
                <c:pt idx="502">
                  <c:v>4322.3382434524601</c:v>
                </c:pt>
                <c:pt idx="503">
                  <c:v>4514.0447236005703</c:v>
                </c:pt>
                <c:pt idx="504">
                  <c:v>4809.7713118111096</c:v>
                </c:pt>
                <c:pt idx="505">
                  <c:v>5157.9471334526897</c:v>
                </c:pt>
                <c:pt idx="506">
                  <c:v>5494.8537985794301</c:v>
                </c:pt>
                <c:pt idx="507">
                  <c:v>5888.3491965866897</c:v>
                </c:pt>
                <c:pt idx="508">
                  <c:v>6128.0196737420301</c:v>
                </c:pt>
                <c:pt idx="509">
                  <c:v>6294.29112567006</c:v>
                </c:pt>
                <c:pt idx="510">
                  <c:v>6554.41614976652</c:v>
                </c:pt>
                <c:pt idx="511">
                  <c:v>6904.90934356041</c:v>
                </c:pt>
                <c:pt idx="512">
                  <c:v>7300.5352288689901</c:v>
                </c:pt>
                <c:pt idx="513">
                  <c:v>7601.3170522988803</c:v>
                </c:pt>
                <c:pt idx="514">
                  <c:v>7907.4064054969504</c:v>
                </c:pt>
                <c:pt idx="515">
                  <c:v>8065.1185312495199</c:v>
                </c:pt>
                <c:pt idx="516">
                  <c:v>8162.5322598293697</c:v>
                </c:pt>
                <c:pt idx="517">
                  <c:v>8150.4781869403496</c:v>
                </c:pt>
                <c:pt idx="518">
                  <c:v>8236.2209565757094</c:v>
                </c:pt>
                <c:pt idx="519">
                  <c:v>8148.7027808559196</c:v>
                </c:pt>
                <c:pt idx="520">
                  <c:v>8103.7663184347703</c:v>
                </c:pt>
                <c:pt idx="521">
                  <c:v>7770.54128487259</c:v>
                </c:pt>
                <c:pt idx="522">
                  <c:v>7480.4586191620301</c:v>
                </c:pt>
                <c:pt idx="523">
                  <c:v>7265.2046477888598</c:v>
                </c:pt>
                <c:pt idx="524">
                  <c:v>7107.1094080917501</c:v>
                </c:pt>
                <c:pt idx="525">
                  <c:v>6701.3543638593801</c:v>
                </c:pt>
                <c:pt idx="526">
                  <c:v>6257.5962851776803</c:v>
                </c:pt>
                <c:pt idx="527">
                  <c:v>5802.0924936110996</c:v>
                </c:pt>
                <c:pt idx="528">
                  <c:v>5437.7791650863201</c:v>
                </c:pt>
                <c:pt idx="529">
                  <c:v>5186.02658231432</c:v>
                </c:pt>
                <c:pt idx="530">
                  <c:v>5069.5692874183396</c:v>
                </c:pt>
                <c:pt idx="531">
                  <c:v>4832.7020830278898</c:v>
                </c:pt>
                <c:pt idx="532">
                  <c:v>4560.4856090722096</c:v>
                </c:pt>
                <c:pt idx="533">
                  <c:v>4296.4266588623505</c:v>
                </c:pt>
                <c:pt idx="534">
                  <c:v>4051.4673404239302</c:v>
                </c:pt>
                <c:pt idx="535">
                  <c:v>3805.2091722711002</c:v>
                </c:pt>
                <c:pt idx="536">
                  <c:v>3691.0225283146901</c:v>
                </c:pt>
                <c:pt idx="537">
                  <c:v>3616.2312109474901</c:v>
                </c:pt>
                <c:pt idx="538">
                  <c:v>3334.7919695953201</c:v>
                </c:pt>
                <c:pt idx="539">
                  <c:v>2967.6660240630999</c:v>
                </c:pt>
                <c:pt idx="540">
                  <c:v>2761.2423618993298</c:v>
                </c:pt>
                <c:pt idx="541">
                  <c:v>2569.17145629179</c:v>
                </c:pt>
                <c:pt idx="542">
                  <c:v>2393.1539593845</c:v>
                </c:pt>
                <c:pt idx="543">
                  <c:v>2285.1345155108302</c:v>
                </c:pt>
                <c:pt idx="544">
                  <c:v>2244.7300107262499</c:v>
                </c:pt>
                <c:pt idx="545">
                  <c:v>2176.87212133087</c:v>
                </c:pt>
                <c:pt idx="546">
                  <c:v>2081.2618315631098</c:v>
                </c:pt>
                <c:pt idx="547">
                  <c:v>1984.82924845098</c:v>
                </c:pt>
                <c:pt idx="548">
                  <c:v>1891.6484617461099</c:v>
                </c:pt>
                <c:pt idx="549">
                  <c:v>1823.07106567442</c:v>
                </c:pt>
                <c:pt idx="550">
                  <c:v>1762.5016854677399</c:v>
                </c:pt>
                <c:pt idx="551">
                  <c:v>1627.53344608095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POZ_indik_testu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53</c:f>
              <c:numCache>
                <c:formatCode>m/d/yyyy</c:formatCode>
                <c:ptCount val="55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</c:numCache>
            </c:numRef>
          </c:cat>
          <c:val>
            <c:numRef>
              <c:f>Sheet1!$B$2:$B$553</c:f>
              <c:numCache>
                <c:formatCode>0%</c:formatCode>
                <c:ptCount val="552"/>
                <c:pt idx="0">
                  <c:v>1.4189059288700001</c:v>
                </c:pt>
                <c:pt idx="1">
                  <c:v>3.0283915324400001</c:v>
                </c:pt>
                <c:pt idx="2">
                  <c:v>4.4704065910599997</c:v>
                </c:pt>
                <c:pt idx="3">
                  <c:v>5.8654141000199997</c:v>
                </c:pt>
                <c:pt idx="4">
                  <c:v>5.8031476739599999</c:v>
                </c:pt>
                <c:pt idx="5">
                  <c:v>6.8880482860600001</c:v>
                </c:pt>
                <c:pt idx="6">
                  <c:v>3.7789737368899998</c:v>
                </c:pt>
                <c:pt idx="7">
                  <c:v>2.0036193795899999</c:v>
                </c:pt>
                <c:pt idx="8">
                  <c:v>1.2529980177</c:v>
                </c:pt>
                <c:pt idx="9">
                  <c:v>0.83687762977000002</c:v>
                </c:pt>
                <c:pt idx="10">
                  <c:v>0.56195162027000001</c:v>
                </c:pt>
                <c:pt idx="11">
                  <c:v>0.53479945957999997</c:v>
                </c:pt>
                <c:pt idx="12">
                  <c:v>0.55155735015999996</c:v>
                </c:pt>
                <c:pt idx="13">
                  <c:v>0.33990459792</c:v>
                </c:pt>
                <c:pt idx="14">
                  <c:v>0.2328545216</c:v>
                </c:pt>
                <c:pt idx="15">
                  <c:v>0.21714402689000001</c:v>
                </c:pt>
                <c:pt idx="16">
                  <c:v>0.35760720950000002</c:v>
                </c:pt>
                <c:pt idx="17">
                  <c:v>0.30307996573000001</c:v>
                </c:pt>
                <c:pt idx="18">
                  <c:v>0.24429478123000001</c:v>
                </c:pt>
                <c:pt idx="19">
                  <c:v>0.28284869370999999</c:v>
                </c:pt>
                <c:pt idx="20">
                  <c:v>0.27935062097000002</c:v>
                </c:pt>
                <c:pt idx="21">
                  <c:v>0.26284493575000001</c:v>
                </c:pt>
                <c:pt idx="22">
                  <c:v>0.12844651686</c:v>
                </c:pt>
                <c:pt idx="23">
                  <c:v>7.3342004200000005E-2</c:v>
                </c:pt>
                <c:pt idx="24">
                  <c:v>5.3908715459999999E-2</c:v>
                </c:pt>
                <c:pt idx="25">
                  <c:v>9.7499664969999997E-2</c:v>
                </c:pt>
                <c:pt idx="26">
                  <c:v>0.16275110136000001</c:v>
                </c:pt>
                <c:pt idx="27">
                  <c:v>0.14383757790999999</c:v>
                </c:pt>
                <c:pt idx="28">
                  <c:v>0.11582009739</c:v>
                </c:pt>
                <c:pt idx="29">
                  <c:v>0.13858681002000001</c:v>
                </c:pt>
                <c:pt idx="30">
                  <c:v>0.21347003128</c:v>
                </c:pt>
                <c:pt idx="31">
                  <c:v>0.25466455474999999</c:v>
                </c:pt>
                <c:pt idx="32">
                  <c:v>0.30601585024</c:v>
                </c:pt>
                <c:pt idx="33">
                  <c:v>0.35536592387999999</c:v>
                </c:pt>
                <c:pt idx="34">
                  <c:v>0.38613388622</c:v>
                </c:pt>
                <c:pt idx="35">
                  <c:v>0.42424337850999999</c:v>
                </c:pt>
                <c:pt idx="36">
                  <c:v>0.43781872184999998</c:v>
                </c:pt>
                <c:pt idx="37">
                  <c:v>0.44394683470000001</c:v>
                </c:pt>
                <c:pt idx="38">
                  <c:v>0.57990409013999999</c:v>
                </c:pt>
                <c:pt idx="39">
                  <c:v>0.57720169802999999</c:v>
                </c:pt>
                <c:pt idx="40">
                  <c:v>0.52358088119000001</c:v>
                </c:pt>
                <c:pt idx="41">
                  <c:v>0.44610249085999998</c:v>
                </c:pt>
                <c:pt idx="42">
                  <c:v>0.39060438661000002</c:v>
                </c:pt>
                <c:pt idx="43">
                  <c:v>0.35005402692999998</c:v>
                </c:pt>
                <c:pt idx="44">
                  <c:v>0.23067506541999999</c:v>
                </c:pt>
                <c:pt idx="45">
                  <c:v>0.15252285783</c:v>
                </c:pt>
                <c:pt idx="46">
                  <c:v>0.13045307990999999</c:v>
                </c:pt>
                <c:pt idx="47">
                  <c:v>0.15118374303000001</c:v>
                </c:pt>
                <c:pt idx="48">
                  <c:v>0.13701955767999999</c:v>
                </c:pt>
                <c:pt idx="49">
                  <c:v>9.953641329E-2</c:v>
                </c:pt>
                <c:pt idx="50">
                  <c:v>0.10016345511999999</c:v>
                </c:pt>
                <c:pt idx="51">
                  <c:v>8.2076369129999993E-2</c:v>
                </c:pt>
                <c:pt idx="52">
                  <c:v>0.11492427697</c:v>
                </c:pt>
                <c:pt idx="53">
                  <c:v>0.11264698187</c:v>
                </c:pt>
                <c:pt idx="54">
                  <c:v>0.12040551602000001</c:v>
                </c:pt>
                <c:pt idx="55">
                  <c:v>9.6876314359999993E-2</c:v>
                </c:pt>
                <c:pt idx="56">
                  <c:v>7.1827785059999996E-2</c:v>
                </c:pt>
                <c:pt idx="57">
                  <c:v>4.8393940140000001E-2</c:v>
                </c:pt>
                <c:pt idx="58">
                  <c:v>1.9392794870000001E-2</c:v>
                </c:pt>
                <c:pt idx="59">
                  <c:v>-1.3233647980000001E-2</c:v>
                </c:pt>
                <c:pt idx="60">
                  <c:v>-2.5105290400000001E-2</c:v>
                </c:pt>
                <c:pt idx="61">
                  <c:v>-2.7263292179999999E-2</c:v>
                </c:pt>
                <c:pt idx="62">
                  <c:v>-3.7537229399999997E-2</c:v>
                </c:pt>
                <c:pt idx="63">
                  <c:v>-6.4906735539999996E-2</c:v>
                </c:pt>
                <c:pt idx="64">
                  <c:v>-4.0270787070000001E-2</c:v>
                </c:pt>
                <c:pt idx="65">
                  <c:v>-2.2437029970000001E-2</c:v>
                </c:pt>
                <c:pt idx="66">
                  <c:v>-1.039064621E-2</c:v>
                </c:pt>
                <c:pt idx="67">
                  <c:v>-1.5354675890000001E-2</c:v>
                </c:pt>
                <c:pt idx="68">
                  <c:v>-1.6688763129999999E-2</c:v>
                </c:pt>
                <c:pt idx="69">
                  <c:v>-4.2833908249999997E-2</c:v>
                </c:pt>
                <c:pt idx="70">
                  <c:v>-6.9934748709999994E-2</c:v>
                </c:pt>
                <c:pt idx="71">
                  <c:v>-0.11481798318</c:v>
                </c:pt>
                <c:pt idx="72">
                  <c:v>-0.1426851807</c:v>
                </c:pt>
                <c:pt idx="73">
                  <c:v>-0.17942723892000001</c:v>
                </c:pt>
                <c:pt idx="74">
                  <c:v>-0.18858141053999999</c:v>
                </c:pt>
                <c:pt idx="75">
                  <c:v>-0.16475592301</c:v>
                </c:pt>
                <c:pt idx="76">
                  <c:v>-0.15120888512</c:v>
                </c:pt>
                <c:pt idx="77">
                  <c:v>-0.14239793884999999</c:v>
                </c:pt>
                <c:pt idx="78">
                  <c:v>-0.13081252936000001</c:v>
                </c:pt>
                <c:pt idx="79">
                  <c:v>-0.10265579679</c:v>
                </c:pt>
                <c:pt idx="80">
                  <c:v>-9.0717853710000004E-2</c:v>
                </c:pt>
                <c:pt idx="81">
                  <c:v>-8.3978946210000002E-2</c:v>
                </c:pt>
                <c:pt idx="82">
                  <c:v>-5.7503606589999999E-2</c:v>
                </c:pt>
                <c:pt idx="83">
                  <c:v>-9.6383196810000002E-2</c:v>
                </c:pt>
                <c:pt idx="84">
                  <c:v>-8.6156244100000001E-2</c:v>
                </c:pt>
                <c:pt idx="85">
                  <c:v>-7.4272928010000003E-2</c:v>
                </c:pt>
                <c:pt idx="86">
                  <c:v>-8.5640286740000002E-2</c:v>
                </c:pt>
                <c:pt idx="87">
                  <c:v>-0.10341010145</c:v>
                </c:pt>
                <c:pt idx="88">
                  <c:v>-8.7660138279999994E-2</c:v>
                </c:pt>
                <c:pt idx="89">
                  <c:v>-5.4415064819999998E-2</c:v>
                </c:pt>
                <c:pt idx="90">
                  <c:v>-0.10238939869999999</c:v>
                </c:pt>
                <c:pt idx="91">
                  <c:v>-9.6213447369999996E-2</c:v>
                </c:pt>
                <c:pt idx="92">
                  <c:v>-0.10310026073</c:v>
                </c:pt>
                <c:pt idx="93">
                  <c:v>-5.866224556E-2</c:v>
                </c:pt>
                <c:pt idx="94">
                  <c:v>-3.5946846759999998E-2</c:v>
                </c:pt>
                <c:pt idx="95">
                  <c:v>-3.25762187E-3</c:v>
                </c:pt>
                <c:pt idx="96">
                  <c:v>4.7666894270000003E-2</c:v>
                </c:pt>
                <c:pt idx="97">
                  <c:v>1.4680065920000001E-2</c:v>
                </c:pt>
                <c:pt idx="98">
                  <c:v>4.1067903590000003E-2</c:v>
                </c:pt>
                <c:pt idx="99">
                  <c:v>7.6287420450000004E-2</c:v>
                </c:pt>
                <c:pt idx="100">
                  <c:v>7.3043838520000001E-2</c:v>
                </c:pt>
                <c:pt idx="101">
                  <c:v>3.8835377990000003E-2</c:v>
                </c:pt>
                <c:pt idx="102">
                  <c:v>4.7595410960000001E-2</c:v>
                </c:pt>
                <c:pt idx="103">
                  <c:v>0.10173440588</c:v>
                </c:pt>
                <c:pt idx="104">
                  <c:v>3.9381205939999997E-2</c:v>
                </c:pt>
                <c:pt idx="105">
                  <c:v>3.7934842230000002E-2</c:v>
                </c:pt>
                <c:pt idx="106">
                  <c:v>1.4265233130000001E-2</c:v>
                </c:pt>
                <c:pt idx="107">
                  <c:v>1.691540792E-2</c:v>
                </c:pt>
                <c:pt idx="108">
                  <c:v>2.051988045E-2</c:v>
                </c:pt>
                <c:pt idx="109">
                  <c:v>2.226567644E-2</c:v>
                </c:pt>
                <c:pt idx="110">
                  <c:v>5.1430259460000002E-2</c:v>
                </c:pt>
                <c:pt idx="111">
                  <c:v>1.7762889000000001E-3</c:v>
                </c:pt>
                <c:pt idx="112">
                  <c:v>-1.35289587E-2</c:v>
                </c:pt>
                <c:pt idx="113">
                  <c:v>2.5190992089999999E-2</c:v>
                </c:pt>
                <c:pt idx="114">
                  <c:v>4.2896666280000002E-2</c:v>
                </c:pt>
                <c:pt idx="115">
                  <c:v>4.9689898699999999E-2</c:v>
                </c:pt>
                <c:pt idx="116">
                  <c:v>6.4466599289999996E-2</c:v>
                </c:pt>
                <c:pt idx="117">
                  <c:v>9.4382191800000001E-2</c:v>
                </c:pt>
                <c:pt idx="118">
                  <c:v>0.13214330262999999</c:v>
                </c:pt>
                <c:pt idx="119">
                  <c:v>0.24869183595</c:v>
                </c:pt>
                <c:pt idx="120">
                  <c:v>0.34733534257999998</c:v>
                </c:pt>
                <c:pt idx="121">
                  <c:v>0.38064647599000001</c:v>
                </c:pt>
                <c:pt idx="122">
                  <c:v>0.39751406531</c:v>
                </c:pt>
                <c:pt idx="123">
                  <c:v>0.37537977548000001</c:v>
                </c:pt>
                <c:pt idx="124">
                  <c:v>0.36415588565000001</c:v>
                </c:pt>
                <c:pt idx="125">
                  <c:v>0.18318881970000001</c:v>
                </c:pt>
                <c:pt idx="126">
                  <c:v>4.9319945400000002E-2</c:v>
                </c:pt>
                <c:pt idx="127">
                  <c:v>-1.7665498929999999E-2</c:v>
                </c:pt>
                <c:pt idx="128">
                  <c:v>-5.7951328509999997E-2</c:v>
                </c:pt>
                <c:pt idx="129">
                  <c:v>-7.6005729630000005E-2</c:v>
                </c:pt>
                <c:pt idx="130">
                  <c:v>-6.5955416919999996E-2</c:v>
                </c:pt>
                <c:pt idx="131">
                  <c:v>-4.254190243E-2</c:v>
                </c:pt>
                <c:pt idx="132">
                  <c:v>-8.8801056040000007E-2</c:v>
                </c:pt>
                <c:pt idx="133">
                  <c:v>-0.13378022412999999</c:v>
                </c:pt>
                <c:pt idx="134">
                  <c:v>-0.16931316089000001</c:v>
                </c:pt>
                <c:pt idx="135">
                  <c:v>-0.18592667730000001</c:v>
                </c:pt>
                <c:pt idx="136">
                  <c:v>-0.20763989535999999</c:v>
                </c:pt>
                <c:pt idx="137">
                  <c:v>-0.23710001744</c:v>
                </c:pt>
                <c:pt idx="138">
                  <c:v>-0.20193172364</c:v>
                </c:pt>
                <c:pt idx="139">
                  <c:v>-0.19488613725000001</c:v>
                </c:pt>
                <c:pt idx="140">
                  <c:v>-0.16277781094999999</c:v>
                </c:pt>
                <c:pt idx="141">
                  <c:v>-0.11159125615</c:v>
                </c:pt>
                <c:pt idx="142">
                  <c:v>-4.9719636960000001E-2</c:v>
                </c:pt>
                <c:pt idx="143">
                  <c:v>-4.6316487890000001E-2</c:v>
                </c:pt>
                <c:pt idx="144">
                  <c:v>-1.470437562E-2</c:v>
                </c:pt>
                <c:pt idx="145">
                  <c:v>1.41824434E-2</c:v>
                </c:pt>
                <c:pt idx="146">
                  <c:v>-4.0179030650000003E-2</c:v>
                </c:pt>
                <c:pt idx="147">
                  <c:v>-4.7724770780000002E-2</c:v>
                </c:pt>
                <c:pt idx="148">
                  <c:v>-4.1543317539999999E-2</c:v>
                </c:pt>
                <c:pt idx="149">
                  <c:v>-4.4404315909999999E-2</c:v>
                </c:pt>
                <c:pt idx="150">
                  <c:v>-4.9788243519999997E-2</c:v>
                </c:pt>
                <c:pt idx="151">
                  <c:v>-4.4914269270000001E-2</c:v>
                </c:pt>
                <c:pt idx="152">
                  <c:v>-3.5810909100000001E-3</c:v>
                </c:pt>
                <c:pt idx="153">
                  <c:v>-4.0570702620000003E-2</c:v>
                </c:pt>
                <c:pt idx="154">
                  <c:v>-2.9436106229999998E-2</c:v>
                </c:pt>
                <c:pt idx="155">
                  <c:v>-1.488286711E-2</c:v>
                </c:pt>
                <c:pt idx="156">
                  <c:v>-1.3119681940000001E-2</c:v>
                </c:pt>
                <c:pt idx="157">
                  <c:v>-1.122873401E-2</c:v>
                </c:pt>
                <c:pt idx="158">
                  <c:v>6.5261035599999996E-3</c:v>
                </c:pt>
                <c:pt idx="159">
                  <c:v>3.108688595E-2</c:v>
                </c:pt>
                <c:pt idx="160">
                  <c:v>2.4453771199999998E-3</c:v>
                </c:pt>
                <c:pt idx="161">
                  <c:v>2.0490251269999999E-2</c:v>
                </c:pt>
                <c:pt idx="162">
                  <c:v>1.8280970949999999E-2</c:v>
                </c:pt>
                <c:pt idx="163">
                  <c:v>4.9059479910000002E-2</c:v>
                </c:pt>
                <c:pt idx="164">
                  <c:v>3.5051140969999998E-2</c:v>
                </c:pt>
                <c:pt idx="165">
                  <c:v>3.5385627359999998E-2</c:v>
                </c:pt>
                <c:pt idx="166">
                  <c:v>6.0417021190000003E-2</c:v>
                </c:pt>
                <c:pt idx="167">
                  <c:v>8.1995123300000004E-3</c:v>
                </c:pt>
                <c:pt idx="168">
                  <c:v>2.2317278879999999E-2</c:v>
                </c:pt>
                <c:pt idx="169">
                  <c:v>2.880511861E-2</c:v>
                </c:pt>
                <c:pt idx="170">
                  <c:v>4.4591175130000001E-2</c:v>
                </c:pt>
                <c:pt idx="171">
                  <c:v>3.6114787600000003E-2</c:v>
                </c:pt>
                <c:pt idx="172">
                  <c:v>6.1485893370000003E-2</c:v>
                </c:pt>
                <c:pt idx="173">
                  <c:v>8.7719393140000004E-2</c:v>
                </c:pt>
                <c:pt idx="174">
                  <c:v>3.463967909E-2</c:v>
                </c:pt>
                <c:pt idx="175">
                  <c:v>5.0672028969999998E-2</c:v>
                </c:pt>
                <c:pt idx="176">
                  <c:v>5.1001056060000001E-2</c:v>
                </c:pt>
                <c:pt idx="177">
                  <c:v>7.0167615690000004E-2</c:v>
                </c:pt>
                <c:pt idx="178">
                  <c:v>6.043733968E-2</c:v>
                </c:pt>
                <c:pt idx="179">
                  <c:v>4.7943923159999999E-2</c:v>
                </c:pt>
                <c:pt idx="180">
                  <c:v>6.0764592489999998E-2</c:v>
                </c:pt>
                <c:pt idx="181">
                  <c:v>3.38217779E-3</c:v>
                </c:pt>
                <c:pt idx="182">
                  <c:v>3.1272262800000001E-3</c:v>
                </c:pt>
                <c:pt idx="183">
                  <c:v>-7.3852654400000002E-3</c:v>
                </c:pt>
                <c:pt idx="184">
                  <c:v>-1.5070978909999999E-2</c:v>
                </c:pt>
                <c:pt idx="185">
                  <c:v>-5.7566875609999998E-2</c:v>
                </c:pt>
                <c:pt idx="186">
                  <c:v>-3.2419441100000002E-2</c:v>
                </c:pt>
                <c:pt idx="187">
                  <c:v>-1.3054446500000001E-2</c:v>
                </c:pt>
                <c:pt idx="188">
                  <c:v>-7.6845943740000006E-2</c:v>
                </c:pt>
                <c:pt idx="189">
                  <c:v>-9.57708798E-2</c:v>
                </c:pt>
                <c:pt idx="190">
                  <c:v>-0.12334146003</c:v>
                </c:pt>
                <c:pt idx="191">
                  <c:v>-0.14419414797999999</c:v>
                </c:pt>
                <c:pt idx="192">
                  <c:v>-0.14508445637</c:v>
                </c:pt>
                <c:pt idx="193">
                  <c:v>-0.15649711576</c:v>
                </c:pt>
                <c:pt idx="194">
                  <c:v>-0.11929573541999999</c:v>
                </c:pt>
                <c:pt idx="195">
                  <c:v>-0.14192063763000001</c:v>
                </c:pt>
                <c:pt idx="196">
                  <c:v>-0.12622170965000001</c:v>
                </c:pt>
                <c:pt idx="197">
                  <c:v>-9.4763325600000003E-2</c:v>
                </c:pt>
                <c:pt idx="198">
                  <c:v>-7.7936383050000002E-2</c:v>
                </c:pt>
                <c:pt idx="199">
                  <c:v>-0.13402698334999999</c:v>
                </c:pt>
                <c:pt idx="200">
                  <c:v>-0.11168609090999999</c:v>
                </c:pt>
                <c:pt idx="201">
                  <c:v>-8.0405341840000005E-2</c:v>
                </c:pt>
                <c:pt idx="202">
                  <c:v>-0.13306175347999999</c:v>
                </c:pt>
                <c:pt idx="203">
                  <c:v>-0.14379242735</c:v>
                </c:pt>
                <c:pt idx="204">
                  <c:v>-0.15372920884999999</c:v>
                </c:pt>
                <c:pt idx="205">
                  <c:v>-0.19109990440999999</c:v>
                </c:pt>
                <c:pt idx="206">
                  <c:v>-0.18832422176999999</c:v>
                </c:pt>
                <c:pt idx="207">
                  <c:v>-0.17303096268000001</c:v>
                </c:pt>
                <c:pt idx="208">
                  <c:v>-0.13178433899</c:v>
                </c:pt>
                <c:pt idx="209">
                  <c:v>-0.16275984038999999</c:v>
                </c:pt>
                <c:pt idx="210">
                  <c:v>-0.15622535101000001</c:v>
                </c:pt>
                <c:pt idx="211">
                  <c:v>-0.14181429825</c:v>
                </c:pt>
                <c:pt idx="212">
                  <c:v>-0.15826053434000001</c:v>
                </c:pt>
                <c:pt idx="213">
                  <c:v>-0.16470510479</c:v>
                </c:pt>
                <c:pt idx="214">
                  <c:v>-0.15234810558</c:v>
                </c:pt>
                <c:pt idx="215">
                  <c:v>-0.10130483799999999</c:v>
                </c:pt>
                <c:pt idx="216">
                  <c:v>-0.1031822469</c:v>
                </c:pt>
                <c:pt idx="217">
                  <c:v>-0.21967798613</c:v>
                </c:pt>
                <c:pt idx="218">
                  <c:v>-0.19694763968000001</c:v>
                </c:pt>
                <c:pt idx="219">
                  <c:v>-0.21144919462</c:v>
                </c:pt>
                <c:pt idx="220">
                  <c:v>-0.22999883247</c:v>
                </c:pt>
                <c:pt idx="221">
                  <c:v>-0.21450916346000001</c:v>
                </c:pt>
                <c:pt idx="222">
                  <c:v>-0.22726263729000001</c:v>
                </c:pt>
                <c:pt idx="223">
                  <c:v>-0.21344125520000001</c:v>
                </c:pt>
                <c:pt idx="224">
                  <c:v>-0.12663541548999999</c:v>
                </c:pt>
                <c:pt idx="225">
                  <c:v>-0.16568296972999999</c:v>
                </c:pt>
                <c:pt idx="226">
                  <c:v>-0.2276754251</c:v>
                </c:pt>
                <c:pt idx="227">
                  <c:v>-0.24259014364000001</c:v>
                </c:pt>
                <c:pt idx="228">
                  <c:v>-0.23201683483999999</c:v>
                </c:pt>
                <c:pt idx="229">
                  <c:v>-0.16495129189999999</c:v>
                </c:pt>
                <c:pt idx="230">
                  <c:v>-0.18004311449999999</c:v>
                </c:pt>
                <c:pt idx="231">
                  <c:v>-0.24509161074999999</c:v>
                </c:pt>
                <c:pt idx="232">
                  <c:v>-0.20520561977999999</c:v>
                </c:pt>
                <c:pt idx="233">
                  <c:v>-0.20707978646</c:v>
                </c:pt>
                <c:pt idx="234">
                  <c:v>-0.20417472373000001</c:v>
                </c:pt>
                <c:pt idx="235">
                  <c:v>-0.17721900571999999</c:v>
                </c:pt>
                <c:pt idx="236">
                  <c:v>-0.12799574644</c:v>
                </c:pt>
                <c:pt idx="237">
                  <c:v>-0.17953521741</c:v>
                </c:pt>
                <c:pt idx="238">
                  <c:v>-0.14685619233</c:v>
                </c:pt>
                <c:pt idx="239">
                  <c:v>-0.14039297933</c:v>
                </c:pt>
                <c:pt idx="240">
                  <c:v>-0.16730298043</c:v>
                </c:pt>
                <c:pt idx="241">
                  <c:v>-0.17593542049999999</c:v>
                </c:pt>
                <c:pt idx="242">
                  <c:v>-0.14979520003999999</c:v>
                </c:pt>
                <c:pt idx="243">
                  <c:v>-0.11914760701</c:v>
                </c:pt>
                <c:pt idx="244">
                  <c:v>-0.1799255548</c:v>
                </c:pt>
                <c:pt idx="245">
                  <c:v>-0.18869528857000001</c:v>
                </c:pt>
                <c:pt idx="246">
                  <c:v>-0.19310017293000001</c:v>
                </c:pt>
                <c:pt idx="247">
                  <c:v>-0.22918057164</c:v>
                </c:pt>
                <c:pt idx="248">
                  <c:v>-0.25763611415999998</c:v>
                </c:pt>
                <c:pt idx="249">
                  <c:v>-0.26100555910000001</c:v>
                </c:pt>
                <c:pt idx="250">
                  <c:v>-0.19675234844</c:v>
                </c:pt>
                <c:pt idx="251">
                  <c:v>-0.24991129309999999</c:v>
                </c:pt>
                <c:pt idx="252">
                  <c:v>-0.25417769977999999</c:v>
                </c:pt>
                <c:pt idx="253">
                  <c:v>-0.26414440069</c:v>
                </c:pt>
                <c:pt idx="254">
                  <c:v>-0.29452948175999999</c:v>
                </c:pt>
                <c:pt idx="255">
                  <c:v>-0.32715467906000001</c:v>
                </c:pt>
                <c:pt idx="256">
                  <c:v>-0.29241151071999999</c:v>
                </c:pt>
                <c:pt idx="257">
                  <c:v>-0.24513276143000001</c:v>
                </c:pt>
                <c:pt idx="258">
                  <c:v>-0.32721188036999999</c:v>
                </c:pt>
                <c:pt idx="259">
                  <c:v>-0.32795023721</c:v>
                </c:pt>
                <c:pt idx="260">
                  <c:v>-0.34334004928</c:v>
                </c:pt>
                <c:pt idx="261">
                  <c:v>-0.38870029887000002</c:v>
                </c:pt>
                <c:pt idx="262">
                  <c:v>-0.42131993128</c:v>
                </c:pt>
                <c:pt idx="263">
                  <c:v>-0.41629119580000001</c:v>
                </c:pt>
                <c:pt idx="264">
                  <c:v>-0.34475551422</c:v>
                </c:pt>
                <c:pt idx="265">
                  <c:v>-0.36919540115999999</c:v>
                </c:pt>
                <c:pt idx="266">
                  <c:v>-0.36144710042</c:v>
                </c:pt>
                <c:pt idx="267">
                  <c:v>-0.32829083864000003</c:v>
                </c:pt>
                <c:pt idx="268">
                  <c:v>-0.29371973205000002</c:v>
                </c:pt>
                <c:pt idx="269">
                  <c:v>-0.28259011026999997</c:v>
                </c:pt>
                <c:pt idx="270">
                  <c:v>-0.24842389759</c:v>
                </c:pt>
                <c:pt idx="271">
                  <c:v>-0.2035054644</c:v>
                </c:pt>
                <c:pt idx="272">
                  <c:v>-0.22710482728</c:v>
                </c:pt>
                <c:pt idx="273">
                  <c:v>-0.18141479111</c:v>
                </c:pt>
                <c:pt idx="274">
                  <c:v>-0.20641446076</c:v>
                </c:pt>
                <c:pt idx="275">
                  <c:v>-0.24282025496000001</c:v>
                </c:pt>
                <c:pt idx="276">
                  <c:v>-0.28335512864000001</c:v>
                </c:pt>
                <c:pt idx="277">
                  <c:v>-0.27890048111999999</c:v>
                </c:pt>
                <c:pt idx="278">
                  <c:v>-0.22820778041000001</c:v>
                </c:pt>
                <c:pt idx="279">
                  <c:v>-0.31189184847000001</c:v>
                </c:pt>
                <c:pt idx="280">
                  <c:v>-0.31397368842000001</c:v>
                </c:pt>
                <c:pt idx="281">
                  <c:v>-0.29471736400999998</c:v>
                </c:pt>
                <c:pt idx="282">
                  <c:v>-0.29545321810000003</c:v>
                </c:pt>
                <c:pt idx="283">
                  <c:v>-0.33581834728999999</c:v>
                </c:pt>
                <c:pt idx="284">
                  <c:v>-0.33452334513999998</c:v>
                </c:pt>
                <c:pt idx="285">
                  <c:v>-0.29524607492999999</c:v>
                </c:pt>
                <c:pt idx="286">
                  <c:v>-0.33238624173999998</c:v>
                </c:pt>
                <c:pt idx="287">
                  <c:v>-0.36820396821000001</c:v>
                </c:pt>
                <c:pt idx="288">
                  <c:v>-0.39804716847999999</c:v>
                </c:pt>
                <c:pt idx="289">
                  <c:v>-0.42026262709000001</c:v>
                </c:pt>
                <c:pt idx="290">
                  <c:v>-0.44398429527</c:v>
                </c:pt>
                <c:pt idx="291">
                  <c:v>-0.42994317305000002</c:v>
                </c:pt>
                <c:pt idx="292">
                  <c:v>-0.35874064705999997</c:v>
                </c:pt>
                <c:pt idx="293">
                  <c:v>-0.41374489790000002</c:v>
                </c:pt>
                <c:pt idx="294">
                  <c:v>-0.37764848661</c:v>
                </c:pt>
                <c:pt idx="295">
                  <c:v>-0.28296658861000001</c:v>
                </c:pt>
                <c:pt idx="296">
                  <c:v>-0.24565029962000001</c:v>
                </c:pt>
                <c:pt idx="297">
                  <c:v>-0.17531024814999999</c:v>
                </c:pt>
                <c:pt idx="298">
                  <c:v>-0.17234588648999999</c:v>
                </c:pt>
                <c:pt idx="299">
                  <c:v>-0.11792997316000001</c:v>
                </c:pt>
                <c:pt idx="300">
                  <c:v>-6.3381183159999993E-2</c:v>
                </c:pt>
                <c:pt idx="301">
                  <c:v>7.8421052860000007E-2</c:v>
                </c:pt>
                <c:pt idx="302">
                  <c:v>0.12573209846</c:v>
                </c:pt>
                <c:pt idx="303">
                  <c:v>0.16814504496999999</c:v>
                </c:pt>
                <c:pt idx="304">
                  <c:v>0.16812790781</c:v>
                </c:pt>
                <c:pt idx="305">
                  <c:v>0.21720146243999999</c:v>
                </c:pt>
                <c:pt idx="306">
                  <c:v>0.34638041138999998</c:v>
                </c:pt>
                <c:pt idx="307">
                  <c:v>0.41192582049999998</c:v>
                </c:pt>
                <c:pt idx="308">
                  <c:v>0.49078435689</c:v>
                </c:pt>
                <c:pt idx="309">
                  <c:v>0.72426080866999998</c:v>
                </c:pt>
                <c:pt idx="310">
                  <c:v>0.77901699431000004</c:v>
                </c:pt>
                <c:pt idx="311">
                  <c:v>0.94488577486000003</c:v>
                </c:pt>
                <c:pt idx="312">
                  <c:v>0.90465768874999997</c:v>
                </c:pt>
                <c:pt idx="313">
                  <c:v>0.78890436195000002</c:v>
                </c:pt>
                <c:pt idx="314">
                  <c:v>0.48950233977000002</c:v>
                </c:pt>
                <c:pt idx="315">
                  <c:v>0.42451613854999998</c:v>
                </c:pt>
                <c:pt idx="316">
                  <c:v>0.28968298835</c:v>
                </c:pt>
                <c:pt idx="317">
                  <c:v>0.16684446989999999</c:v>
                </c:pt>
                <c:pt idx="318">
                  <c:v>-2.914204863E-2</c:v>
                </c:pt>
                <c:pt idx="319">
                  <c:v>-4.7385654940000001E-2</c:v>
                </c:pt>
                <c:pt idx="320">
                  <c:v>-3.6859411760000002E-2</c:v>
                </c:pt>
                <c:pt idx="321">
                  <c:v>-8.0670814770000002E-2</c:v>
                </c:pt>
                <c:pt idx="322">
                  <c:v>-0.10512443193</c:v>
                </c:pt>
                <c:pt idx="323">
                  <c:v>-7.0310781409999995E-2</c:v>
                </c:pt>
                <c:pt idx="324">
                  <c:v>-1.9334433700000001E-2</c:v>
                </c:pt>
                <c:pt idx="325">
                  <c:v>-3.6918881600000002E-2</c:v>
                </c:pt>
                <c:pt idx="326">
                  <c:v>-8.6789524709999996E-2</c:v>
                </c:pt>
                <c:pt idx="327">
                  <c:v>-0.12301748785</c:v>
                </c:pt>
                <c:pt idx="328">
                  <c:v>-0.21175026578</c:v>
                </c:pt>
                <c:pt idx="329">
                  <c:v>-0.22648992719</c:v>
                </c:pt>
                <c:pt idx="330">
                  <c:v>-0.22165162768999999</c:v>
                </c:pt>
                <c:pt idx="331">
                  <c:v>-0.14054729777</c:v>
                </c:pt>
                <c:pt idx="332">
                  <c:v>-0.18238309738</c:v>
                </c:pt>
                <c:pt idx="333">
                  <c:v>-0.14098296293000001</c:v>
                </c:pt>
                <c:pt idx="334">
                  <c:v>-0.12190426408</c:v>
                </c:pt>
                <c:pt idx="335">
                  <c:v>-0.20952843692000001</c:v>
                </c:pt>
                <c:pt idx="336">
                  <c:v>-0.14244205430000001</c:v>
                </c:pt>
                <c:pt idx="337">
                  <c:v>-1.4030824189999999E-2</c:v>
                </c:pt>
                <c:pt idx="338">
                  <c:v>2.2400998209999998E-2</c:v>
                </c:pt>
                <c:pt idx="339">
                  <c:v>3.1847577689999997E-2</c:v>
                </c:pt>
                <c:pt idx="340">
                  <c:v>5.6780476500000003E-2</c:v>
                </c:pt>
                <c:pt idx="341">
                  <c:v>9.589921085E-2</c:v>
                </c:pt>
                <c:pt idx="342">
                  <c:v>8.3670416309999995E-2</c:v>
                </c:pt>
                <c:pt idx="343">
                  <c:v>7.79363483E-2</c:v>
                </c:pt>
                <c:pt idx="344">
                  <c:v>0.11690928532</c:v>
                </c:pt>
                <c:pt idx="345">
                  <c:v>0.24351924821000001</c:v>
                </c:pt>
                <c:pt idx="346">
                  <c:v>0.16158374482000001</c:v>
                </c:pt>
                <c:pt idx="347">
                  <c:v>9.5910596959999997E-2</c:v>
                </c:pt>
                <c:pt idx="348">
                  <c:v>3.8665982520000003E-2</c:v>
                </c:pt>
                <c:pt idx="349">
                  <c:v>-5.4539780240000002E-2</c:v>
                </c:pt>
                <c:pt idx="350">
                  <c:v>-5.8212369999999999E-3</c:v>
                </c:pt>
                <c:pt idx="351">
                  <c:v>4.4171297159999998E-2</c:v>
                </c:pt>
                <c:pt idx="352">
                  <c:v>6.0011381129999999E-2</c:v>
                </c:pt>
                <c:pt idx="353">
                  <c:v>9.7900581899999992E-3</c:v>
                </c:pt>
                <c:pt idx="354">
                  <c:v>4.18045872E-2</c:v>
                </c:pt>
                <c:pt idx="355">
                  <c:v>4.6129516180000003E-2</c:v>
                </c:pt>
                <c:pt idx="356">
                  <c:v>-5.9682991630000001E-2</c:v>
                </c:pt>
                <c:pt idx="357">
                  <c:v>-7.9951416469999995E-2</c:v>
                </c:pt>
                <c:pt idx="358">
                  <c:v>2.1964789509999999E-2</c:v>
                </c:pt>
                <c:pt idx="359">
                  <c:v>0.16255980263</c:v>
                </c:pt>
                <c:pt idx="360">
                  <c:v>0.18337633475000001</c:v>
                </c:pt>
                <c:pt idx="361">
                  <c:v>0.26676207548999997</c:v>
                </c:pt>
                <c:pt idx="362">
                  <c:v>0.25065384028999999</c:v>
                </c:pt>
                <c:pt idx="363">
                  <c:v>0.23263982959000001</c:v>
                </c:pt>
                <c:pt idx="364">
                  <c:v>0.25709372987000001</c:v>
                </c:pt>
                <c:pt idx="365">
                  <c:v>0.25626687732999998</c:v>
                </c:pt>
                <c:pt idx="366">
                  <c:v>0.33423741065000001</c:v>
                </c:pt>
                <c:pt idx="367">
                  <c:v>0.36397771838999998</c:v>
                </c:pt>
                <c:pt idx="368">
                  <c:v>0.39548729278</c:v>
                </c:pt>
                <c:pt idx="369">
                  <c:v>0.33022281313000001</c:v>
                </c:pt>
                <c:pt idx="370">
                  <c:v>0.33310297412000001</c:v>
                </c:pt>
                <c:pt idx="371">
                  <c:v>0.59477528145000003</c:v>
                </c:pt>
                <c:pt idx="372">
                  <c:v>0.75173366414999998</c:v>
                </c:pt>
                <c:pt idx="373">
                  <c:v>0.78012582563999999</c:v>
                </c:pt>
                <c:pt idx="374">
                  <c:v>0.60258051378999999</c:v>
                </c:pt>
                <c:pt idx="375">
                  <c:v>0.56413805515000004</c:v>
                </c:pt>
                <c:pt idx="376">
                  <c:v>0.45853109112000001</c:v>
                </c:pt>
                <c:pt idx="377">
                  <c:v>0.38837653792999999</c:v>
                </c:pt>
                <c:pt idx="378">
                  <c:v>0.33702337779000002</c:v>
                </c:pt>
                <c:pt idx="379">
                  <c:v>0.31384929413000001</c:v>
                </c:pt>
                <c:pt idx="380">
                  <c:v>0.30420471503000002</c:v>
                </c:pt>
                <c:pt idx="381">
                  <c:v>0.21072117436999999</c:v>
                </c:pt>
                <c:pt idx="382">
                  <c:v>0.21949626259999999</c:v>
                </c:pt>
                <c:pt idx="383">
                  <c:v>0.15923193792000001</c:v>
                </c:pt>
                <c:pt idx="384">
                  <c:v>5.6169608019999998E-2</c:v>
                </c:pt>
                <c:pt idx="385">
                  <c:v>4.3347032760000001E-2</c:v>
                </c:pt>
                <c:pt idx="386">
                  <c:v>1.7254132790000001E-2</c:v>
                </c:pt>
                <c:pt idx="387">
                  <c:v>3.3777918699999999E-2</c:v>
                </c:pt>
                <c:pt idx="388">
                  <c:v>-7.2343138899999999E-3</c:v>
                </c:pt>
                <c:pt idx="389">
                  <c:v>3.3783282159999997E-2</c:v>
                </c:pt>
                <c:pt idx="390">
                  <c:v>-6.1452146600000004E-3</c:v>
                </c:pt>
                <c:pt idx="391">
                  <c:v>-2.0426747160000001E-2</c:v>
                </c:pt>
                <c:pt idx="392">
                  <c:v>1.11531585E-2</c:v>
                </c:pt>
                <c:pt idx="393">
                  <c:v>9.084716189E-2</c:v>
                </c:pt>
                <c:pt idx="394">
                  <c:v>0.3447419451</c:v>
                </c:pt>
                <c:pt idx="395">
                  <c:v>0.37952040409999999</c:v>
                </c:pt>
                <c:pt idx="396">
                  <c:v>0.42737695368</c:v>
                </c:pt>
                <c:pt idx="397">
                  <c:v>0.35998379434</c:v>
                </c:pt>
                <c:pt idx="398">
                  <c:v>0.36931892704000002</c:v>
                </c:pt>
                <c:pt idx="399">
                  <c:v>0.48394856582000001</c:v>
                </c:pt>
                <c:pt idx="400">
                  <c:v>0.49031621447000001</c:v>
                </c:pt>
                <c:pt idx="401">
                  <c:v>0.45843247446000002</c:v>
                </c:pt>
                <c:pt idx="402">
                  <c:v>0.29568379406</c:v>
                </c:pt>
                <c:pt idx="403">
                  <c:v>0.2766555926</c:v>
                </c:pt>
                <c:pt idx="404">
                  <c:v>0.22289037897</c:v>
                </c:pt>
                <c:pt idx="405">
                  <c:v>0.2006593367</c:v>
                </c:pt>
                <c:pt idx="406">
                  <c:v>0.20557004145999999</c:v>
                </c:pt>
                <c:pt idx="407">
                  <c:v>0.20897493529</c:v>
                </c:pt>
                <c:pt idx="408">
                  <c:v>0.33741672432999997</c:v>
                </c:pt>
                <c:pt idx="409">
                  <c:v>0.30504297852000001</c:v>
                </c:pt>
                <c:pt idx="410">
                  <c:v>0.35224964165</c:v>
                </c:pt>
                <c:pt idx="411">
                  <c:v>0.28783155462999999</c:v>
                </c:pt>
                <c:pt idx="412">
                  <c:v>0.27048166769999998</c:v>
                </c:pt>
                <c:pt idx="413">
                  <c:v>0.39682462027999998</c:v>
                </c:pt>
                <c:pt idx="414">
                  <c:v>0.49600120408999998</c:v>
                </c:pt>
                <c:pt idx="415">
                  <c:v>0.60218196591999995</c:v>
                </c:pt>
                <c:pt idx="416">
                  <c:v>0.5923257623</c:v>
                </c:pt>
                <c:pt idx="417">
                  <c:v>0.61445082456</c:v>
                </c:pt>
                <c:pt idx="418">
                  <c:v>0.48385716818000002</c:v>
                </c:pt>
                <c:pt idx="419">
                  <c:v>0.36434182574000001</c:v>
                </c:pt>
                <c:pt idx="420">
                  <c:v>0.31576694518999998</c:v>
                </c:pt>
                <c:pt idx="421">
                  <c:v>0.23063432546000001</c:v>
                </c:pt>
                <c:pt idx="422">
                  <c:v>0.23402098971999999</c:v>
                </c:pt>
                <c:pt idx="423">
                  <c:v>0.19357930602000001</c:v>
                </c:pt>
                <c:pt idx="424">
                  <c:v>0.23277407173</c:v>
                </c:pt>
                <c:pt idx="425">
                  <c:v>0.18284974862</c:v>
                </c:pt>
                <c:pt idx="426">
                  <c:v>0.19644057265000001</c:v>
                </c:pt>
                <c:pt idx="427">
                  <c:v>0.36942281048999998</c:v>
                </c:pt>
                <c:pt idx="428">
                  <c:v>0.58144593391999999</c:v>
                </c:pt>
                <c:pt idx="429">
                  <c:v>0.67421718804999997</c:v>
                </c:pt>
                <c:pt idx="430">
                  <c:v>0.68253808666000004</c:v>
                </c:pt>
                <c:pt idx="431">
                  <c:v>0.69551054141000002</c:v>
                </c:pt>
                <c:pt idx="432">
                  <c:v>0.63066889037999996</c:v>
                </c:pt>
                <c:pt idx="433">
                  <c:v>0.50520575083999997</c:v>
                </c:pt>
                <c:pt idx="434">
                  <c:v>0.39778668292000002</c:v>
                </c:pt>
                <c:pt idx="435">
                  <c:v>0.25180232120000001</c:v>
                </c:pt>
                <c:pt idx="436">
                  <c:v>0.17335351277</c:v>
                </c:pt>
                <c:pt idx="437">
                  <c:v>0.11912963102</c:v>
                </c:pt>
                <c:pt idx="438">
                  <c:v>0.13774667230000001</c:v>
                </c:pt>
                <c:pt idx="439">
                  <c:v>0.11097545775999999</c:v>
                </c:pt>
                <c:pt idx="440">
                  <c:v>1.576504477E-2</c:v>
                </c:pt>
                <c:pt idx="441">
                  <c:v>1.52690585E-2</c:v>
                </c:pt>
                <c:pt idx="442">
                  <c:v>6.201270239E-2</c:v>
                </c:pt>
                <c:pt idx="443">
                  <c:v>0.10016262929</c:v>
                </c:pt>
                <c:pt idx="444">
                  <c:v>0.15373530105</c:v>
                </c:pt>
                <c:pt idx="445">
                  <c:v>0.16934786629000001</c:v>
                </c:pt>
                <c:pt idx="446">
                  <c:v>0.18249859299999999</c:v>
                </c:pt>
                <c:pt idx="447">
                  <c:v>0.13552909116</c:v>
                </c:pt>
                <c:pt idx="448">
                  <c:v>0.16354655710999999</c:v>
                </c:pt>
                <c:pt idx="449">
                  <c:v>0.14284336723999999</c:v>
                </c:pt>
                <c:pt idx="450">
                  <c:v>0.13631849942999999</c:v>
                </c:pt>
                <c:pt idx="451">
                  <c:v>9.563524139E-2</c:v>
                </c:pt>
                <c:pt idx="452">
                  <c:v>7.7234809609999996E-2</c:v>
                </c:pt>
                <c:pt idx="453">
                  <c:v>8.2479644000000005E-2</c:v>
                </c:pt>
                <c:pt idx="454">
                  <c:v>2.396687003E-2</c:v>
                </c:pt>
                <c:pt idx="455">
                  <c:v>2.5651858279999998E-2</c:v>
                </c:pt>
                <c:pt idx="456">
                  <c:v>3.9321891150000003E-2</c:v>
                </c:pt>
                <c:pt idx="457">
                  <c:v>-1.5847111109999999E-2</c:v>
                </c:pt>
                <c:pt idx="458">
                  <c:v>-2.1301164359999999E-2</c:v>
                </c:pt>
                <c:pt idx="459">
                  <c:v>-2.104058449E-2</c:v>
                </c:pt>
                <c:pt idx="460">
                  <c:v>-2.7530194290000001E-2</c:v>
                </c:pt>
                <c:pt idx="461">
                  <c:v>-6.7016036340000001E-2</c:v>
                </c:pt>
                <c:pt idx="462">
                  <c:v>-5.8607272449999998E-2</c:v>
                </c:pt>
                <c:pt idx="463">
                  <c:v>-9.6828680959999996E-2</c:v>
                </c:pt>
                <c:pt idx="464">
                  <c:v>-8.6969958779999995E-2</c:v>
                </c:pt>
                <c:pt idx="465">
                  <c:v>-9.5965239120000004E-2</c:v>
                </c:pt>
                <c:pt idx="466">
                  <c:v>-9.5298033719999994E-2</c:v>
                </c:pt>
                <c:pt idx="467">
                  <c:v>-8.6268348349999996E-2</c:v>
                </c:pt>
                <c:pt idx="468">
                  <c:v>-0.11556937963</c:v>
                </c:pt>
                <c:pt idx="469">
                  <c:v>-0.118504122</c:v>
                </c:pt>
                <c:pt idx="470">
                  <c:v>-0.11535276546000001</c:v>
                </c:pt>
                <c:pt idx="471">
                  <c:v>-0.12293423923000001</c:v>
                </c:pt>
                <c:pt idx="472">
                  <c:v>-0.12638103771</c:v>
                </c:pt>
                <c:pt idx="473">
                  <c:v>-0.13277917275000001</c:v>
                </c:pt>
                <c:pt idx="474">
                  <c:v>-0.11976510424</c:v>
                </c:pt>
                <c:pt idx="475">
                  <c:v>-0.14704133893999999</c:v>
                </c:pt>
                <c:pt idx="476">
                  <c:v>-0.15115534689999999</c:v>
                </c:pt>
                <c:pt idx="477">
                  <c:v>-0.15336582957</c:v>
                </c:pt>
                <c:pt idx="478">
                  <c:v>-0.14836329097000001</c:v>
                </c:pt>
                <c:pt idx="479">
                  <c:v>-0.14240565964999999</c:v>
                </c:pt>
                <c:pt idx="480">
                  <c:v>-0.14322380525</c:v>
                </c:pt>
                <c:pt idx="481">
                  <c:v>-0.13645731186000001</c:v>
                </c:pt>
                <c:pt idx="482">
                  <c:v>-0.14659320938000001</c:v>
                </c:pt>
                <c:pt idx="483">
                  <c:v>-9.9627774360000004E-2</c:v>
                </c:pt>
                <c:pt idx="484">
                  <c:v>-9.7061475100000006E-3</c:v>
                </c:pt>
                <c:pt idx="485">
                  <c:v>7.780953501E-2</c:v>
                </c:pt>
                <c:pt idx="486">
                  <c:v>0.11856574369</c:v>
                </c:pt>
                <c:pt idx="487">
                  <c:v>0.15610799794999999</c:v>
                </c:pt>
                <c:pt idx="488">
                  <c:v>0.15266832256999999</c:v>
                </c:pt>
                <c:pt idx="489">
                  <c:v>6.2086313429999998E-2</c:v>
                </c:pt>
                <c:pt idx="490">
                  <c:v>8.0523124730000006E-2</c:v>
                </c:pt>
                <c:pt idx="491">
                  <c:v>3.206267308E-2</c:v>
                </c:pt>
                <c:pt idx="492">
                  <c:v>-8.3681416489999993E-2</c:v>
                </c:pt>
                <c:pt idx="493">
                  <c:v>-0.14994384491000001</c:v>
                </c:pt>
                <c:pt idx="494">
                  <c:v>-0.15461217300999999</c:v>
                </c:pt>
                <c:pt idx="495">
                  <c:v>-0.12561145517</c:v>
                </c:pt>
                <c:pt idx="496">
                  <c:v>-0.18247528381</c:v>
                </c:pt>
                <c:pt idx="497">
                  <c:v>-0.14815121189</c:v>
                </c:pt>
                <c:pt idx="498">
                  <c:v>-7.7130446909999997E-2</c:v>
                </c:pt>
                <c:pt idx="499">
                  <c:v>4.6639963329999999E-2</c:v>
                </c:pt>
                <c:pt idx="500">
                  <c:v>0.17612694692</c:v>
                </c:pt>
                <c:pt idx="501">
                  <c:v>0.23210385628999999</c:v>
                </c:pt>
                <c:pt idx="502">
                  <c:v>0.31817375196999997</c:v>
                </c:pt>
                <c:pt idx="503">
                  <c:v>0.37302942862999999</c:v>
                </c:pt>
                <c:pt idx="504">
                  <c:v>0.49626713424000002</c:v>
                </c:pt>
                <c:pt idx="505">
                  <c:v>0.56911826104999996</c:v>
                </c:pt>
                <c:pt idx="506">
                  <c:v>0.56446224675000001</c:v>
                </c:pt>
                <c:pt idx="507">
                  <c:v>0.522475362</c:v>
                </c:pt>
                <c:pt idx="508">
                  <c:v>0.48565180938000002</c:v>
                </c:pt>
                <c:pt idx="509">
                  <c:v>0.42944005822999998</c:v>
                </c:pt>
                <c:pt idx="510">
                  <c:v>0.26613874652000002</c:v>
                </c:pt>
                <c:pt idx="511">
                  <c:v>0.1889333339</c:v>
                </c:pt>
                <c:pt idx="512">
                  <c:v>0.24110488799999999</c:v>
                </c:pt>
                <c:pt idx="513">
                  <c:v>0.21021670601</c:v>
                </c:pt>
                <c:pt idx="514">
                  <c:v>0.24067489106000001</c:v>
                </c:pt>
                <c:pt idx="515">
                  <c:v>0.18431814130999999</c:v>
                </c:pt>
                <c:pt idx="516">
                  <c:v>0.22144610881999999</c:v>
                </c:pt>
                <c:pt idx="517">
                  <c:v>0.15660836608000001</c:v>
                </c:pt>
                <c:pt idx="518">
                  <c:v>0.12738251194</c:v>
                </c:pt>
                <c:pt idx="519">
                  <c:v>0.10181950653999999</c:v>
                </c:pt>
                <c:pt idx="520">
                  <c:v>8.459033631E-2</c:v>
                </c:pt>
                <c:pt idx="521">
                  <c:v>5.4559521540000003E-2</c:v>
                </c:pt>
                <c:pt idx="522">
                  <c:v>7.4941433459999998E-2</c:v>
                </c:pt>
                <c:pt idx="523">
                  <c:v>6.212192465E-2</c:v>
                </c:pt>
                <c:pt idx="524">
                  <c:v>1.6200238929999999E-2</c:v>
                </c:pt>
                <c:pt idx="525">
                  <c:v>-3.8367457119999997E-2</c:v>
                </c:pt>
                <c:pt idx="526">
                  <c:v>4.1399842200000002E-3</c:v>
                </c:pt>
                <c:pt idx="527">
                  <c:v>-2.8982608499999998E-3</c:v>
                </c:pt>
                <c:pt idx="528">
                  <c:v>1.9153042589999999E-2</c:v>
                </c:pt>
                <c:pt idx="529">
                  <c:v>-4.5655673510000001E-2</c:v>
                </c:pt>
                <c:pt idx="530">
                  <c:v>-2.1845351000000001E-3</c:v>
                </c:pt>
                <c:pt idx="531">
                  <c:v>-6.6624700189999997E-2</c:v>
                </c:pt>
                <c:pt idx="532">
                  <c:v>-4.708946856E-2</c:v>
                </c:pt>
                <c:pt idx="533">
                  <c:v>-4.6302468919999999E-2</c:v>
                </c:pt>
                <c:pt idx="534">
                  <c:v>-4.3745894620000003E-2</c:v>
                </c:pt>
                <c:pt idx="535">
                  <c:v>-7.745908554E-2</c:v>
                </c:pt>
                <c:pt idx="536">
                  <c:v>-4.6815166390000003E-2</c:v>
                </c:pt>
                <c:pt idx="537">
                  <c:v>-3.7547906970000003E-2</c:v>
                </c:pt>
                <c:pt idx="538">
                  <c:v>-3.5903062829999999E-2</c:v>
                </c:pt>
                <c:pt idx="539">
                  <c:v>-3.5742173930000003E-2</c:v>
                </c:pt>
                <c:pt idx="540">
                  <c:v>6.3295771900000004E-3</c:v>
                </c:pt>
                <c:pt idx="541">
                  <c:v>2.6267076949999999E-2</c:v>
                </c:pt>
                <c:pt idx="542">
                  <c:v>5.2938008289999998E-2</c:v>
                </c:pt>
                <c:pt idx="543">
                  <c:v>5.5326362800000001E-2</c:v>
                </c:pt>
                <c:pt idx="544">
                  <c:v>5.1147923239999997E-2</c:v>
                </c:pt>
                <c:pt idx="545">
                  <c:v>-2.176077802E-2</c:v>
                </c:pt>
                <c:pt idx="546">
                  <c:v>1.405362487E-2</c:v>
                </c:pt>
                <c:pt idx="547">
                  <c:v>2.702319236E-2</c:v>
                </c:pt>
                <c:pt idx="548">
                  <c:v>2.480121033E-2</c:v>
                </c:pt>
                <c:pt idx="549">
                  <c:v>8.1033436799999997E-3</c:v>
                </c:pt>
                <c:pt idx="550">
                  <c:v>2.051672693E-2</c:v>
                </c:pt>
                <c:pt idx="551">
                  <c:v>3.872095282000000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C8-4E7B-83D3-5242563E84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  <c:max val="1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POZ_indik_testu_65_nyni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53</c:f>
              <c:numCache>
                <c:formatCode>m/d/yyyy</c:formatCode>
                <c:ptCount val="55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</c:numCache>
            </c:numRef>
          </c:cat>
          <c:val>
            <c:numRef>
              <c:f>Sheet1!$B$2:$B$553</c:f>
              <c:numCache>
                <c:formatCode>#\ ##0.0</c:formatCode>
                <c:ptCount val="552"/>
                <c:pt idx="0">
                  <c:v>1.3173188686E-2</c:v>
                </c:pt>
                <c:pt idx="1">
                  <c:v>2.2382671480000001E-2</c:v>
                </c:pt>
                <c:pt idx="2">
                  <c:v>3.1992084432000002E-2</c:v>
                </c:pt>
                <c:pt idx="3">
                  <c:v>4.2370279397999998E-2</c:v>
                </c:pt>
                <c:pt idx="4">
                  <c:v>4.9746797735999999E-2</c:v>
                </c:pt>
                <c:pt idx="5">
                  <c:v>5.3348796752000001E-2</c:v>
                </c:pt>
                <c:pt idx="6">
                  <c:v>6.0120240480000003E-2</c:v>
                </c:pt>
                <c:pt idx="7">
                  <c:v>6.6720691518000003E-2</c:v>
                </c:pt>
                <c:pt idx="8">
                  <c:v>7.2200263503999995E-2</c:v>
                </c:pt>
                <c:pt idx="9">
                  <c:v>7.7059120768000006E-2</c:v>
                </c:pt>
                <c:pt idx="10">
                  <c:v>7.9605414085000006E-2</c:v>
                </c:pt>
                <c:pt idx="11">
                  <c:v>9.7085342839E-2</c:v>
                </c:pt>
                <c:pt idx="12">
                  <c:v>0.100224078223</c:v>
                </c:pt>
                <c:pt idx="13">
                  <c:v>9.9980472562999995E-2</c:v>
                </c:pt>
                <c:pt idx="14">
                  <c:v>0.102381398837</c:v>
                </c:pt>
                <c:pt idx="15">
                  <c:v>0.107541427122</c:v>
                </c:pt>
                <c:pt idx="16">
                  <c:v>0.116071428571</c:v>
                </c:pt>
                <c:pt idx="17">
                  <c:v>0.122629969418</c:v>
                </c:pt>
                <c:pt idx="18">
                  <c:v>0.11622125543800001</c:v>
                </c:pt>
                <c:pt idx="19">
                  <c:v>0.11477652782</c:v>
                </c:pt>
                <c:pt idx="20">
                  <c:v>0.116051902609</c:v>
                </c:pt>
                <c:pt idx="21">
                  <c:v>0.122344944774</c:v>
                </c:pt>
                <c:pt idx="22">
                  <c:v>0.12366560376999999</c:v>
                </c:pt>
                <c:pt idx="23">
                  <c:v>0.130281211791</c:v>
                </c:pt>
                <c:pt idx="24">
                  <c:v>0.14078110808300001</c:v>
                </c:pt>
                <c:pt idx="25">
                  <c:v>0.14407209951700001</c:v>
                </c:pt>
                <c:pt idx="26">
                  <c:v>0.146060378303</c:v>
                </c:pt>
                <c:pt idx="27">
                  <c:v>0.156983606557</c:v>
                </c:pt>
                <c:pt idx="28">
                  <c:v>0.16034571723400001</c:v>
                </c:pt>
                <c:pt idx="29">
                  <c:v>0.16682738669200001</c:v>
                </c:pt>
                <c:pt idx="30">
                  <c:v>0.17779069767399999</c:v>
                </c:pt>
                <c:pt idx="31">
                  <c:v>0.18621603711000001</c:v>
                </c:pt>
                <c:pt idx="32">
                  <c:v>0.194694960212</c:v>
                </c:pt>
                <c:pt idx="33">
                  <c:v>0.20254605671699999</c:v>
                </c:pt>
                <c:pt idx="34">
                  <c:v>0.21259988849600001</c:v>
                </c:pt>
                <c:pt idx="35">
                  <c:v>0.222019147084</c:v>
                </c:pt>
                <c:pt idx="36">
                  <c:v>0.239334290783</c:v>
                </c:pt>
                <c:pt idx="37">
                  <c:v>0.25448680836900001</c:v>
                </c:pt>
                <c:pt idx="38">
                  <c:v>0.287648323644</c:v>
                </c:pt>
                <c:pt idx="39">
                  <c:v>0.29792219965599998</c:v>
                </c:pt>
                <c:pt idx="40">
                  <c:v>0.30487246066899998</c:v>
                </c:pt>
                <c:pt idx="41">
                  <c:v>0.30794474547799999</c:v>
                </c:pt>
                <c:pt idx="42">
                  <c:v>0.31860248224400001</c:v>
                </c:pt>
                <c:pt idx="43">
                  <c:v>0.32557826788499999</c:v>
                </c:pt>
                <c:pt idx="44">
                  <c:v>0.33374004623600001</c:v>
                </c:pt>
                <c:pt idx="45">
                  <c:v>0.32429365031899998</c:v>
                </c:pt>
                <c:pt idx="46">
                  <c:v>0.333835930083</c:v>
                </c:pt>
                <c:pt idx="47">
                  <c:v>0.33923639317600002</c:v>
                </c:pt>
                <c:pt idx="48">
                  <c:v>0.34646801952200001</c:v>
                </c:pt>
                <c:pt idx="49">
                  <c:v>0.35447852162400001</c:v>
                </c:pt>
                <c:pt idx="50">
                  <c:v>0.36672349444699998</c:v>
                </c:pt>
                <c:pt idx="51">
                  <c:v>0.369977678571</c:v>
                </c:pt>
                <c:pt idx="52">
                  <c:v>0.38683416670100002</c:v>
                </c:pt>
                <c:pt idx="53">
                  <c:v>0.39261704920599999</c:v>
                </c:pt>
                <c:pt idx="54">
                  <c:v>0.39581299066499998</c:v>
                </c:pt>
                <c:pt idx="55">
                  <c:v>0.39486739527699999</c:v>
                </c:pt>
                <c:pt idx="56">
                  <c:v>0.39848237713599999</c:v>
                </c:pt>
                <c:pt idx="57">
                  <c:v>0.40264825229500001</c:v>
                </c:pt>
                <c:pt idx="58">
                  <c:v>0.40501944149800001</c:v>
                </c:pt>
                <c:pt idx="59">
                  <c:v>0.39465247936699999</c:v>
                </c:pt>
                <c:pt idx="60">
                  <c:v>0.38924284085499999</c:v>
                </c:pt>
                <c:pt idx="61">
                  <c:v>0.388030823631</c:v>
                </c:pt>
                <c:pt idx="62">
                  <c:v>0.39471555675300002</c:v>
                </c:pt>
                <c:pt idx="63">
                  <c:v>0.386629281805</c:v>
                </c:pt>
                <c:pt idx="64">
                  <c:v>0.38894360186400001</c:v>
                </c:pt>
                <c:pt idx="65">
                  <c:v>0.38689338937700002</c:v>
                </c:pt>
                <c:pt idx="66">
                  <c:v>0.382804013035</c:v>
                </c:pt>
                <c:pt idx="67">
                  <c:v>0.38046029469199999</c:v>
                </c:pt>
                <c:pt idx="68">
                  <c:v>0.37622214832</c:v>
                </c:pt>
                <c:pt idx="69">
                  <c:v>0.35846046465199999</c:v>
                </c:pt>
                <c:pt idx="70">
                  <c:v>0.34730677607100002</c:v>
                </c:pt>
                <c:pt idx="71">
                  <c:v>0.32751695529000002</c:v>
                </c:pt>
                <c:pt idx="72">
                  <c:v>0.317669302165</c:v>
                </c:pt>
                <c:pt idx="73">
                  <c:v>0.30982753705799998</c:v>
                </c:pt>
                <c:pt idx="74">
                  <c:v>0.30532725642500003</c:v>
                </c:pt>
                <c:pt idx="75">
                  <c:v>0.29828301671200003</c:v>
                </c:pt>
                <c:pt idx="76">
                  <c:v>0.29032016756399998</c:v>
                </c:pt>
                <c:pt idx="77">
                  <c:v>0.29043698543300001</c:v>
                </c:pt>
                <c:pt idx="78">
                  <c:v>0.27553315936200001</c:v>
                </c:pt>
                <c:pt idx="79">
                  <c:v>0.26439729540599999</c:v>
                </c:pt>
                <c:pt idx="80">
                  <c:v>0.25834235653100002</c:v>
                </c:pt>
                <c:pt idx="81">
                  <c:v>0.247086131963</c:v>
                </c:pt>
                <c:pt idx="82">
                  <c:v>0.24750161587</c:v>
                </c:pt>
                <c:pt idx="83">
                  <c:v>0.23999802185800001</c:v>
                </c:pt>
                <c:pt idx="84">
                  <c:v>0.23992879894999999</c:v>
                </c:pt>
                <c:pt idx="85">
                  <c:v>0.24094754653100001</c:v>
                </c:pt>
                <c:pt idx="86">
                  <c:v>0.237246161466</c:v>
                </c:pt>
                <c:pt idx="87">
                  <c:v>0.22850406340900001</c:v>
                </c:pt>
                <c:pt idx="88">
                  <c:v>0.225278356805</c:v>
                </c:pt>
                <c:pt idx="89">
                  <c:v>0.22455120359</c:v>
                </c:pt>
                <c:pt idx="90">
                  <c:v>0.21959777940700001</c:v>
                </c:pt>
                <c:pt idx="91">
                  <c:v>0.215793963954</c:v>
                </c:pt>
                <c:pt idx="92">
                  <c:v>0.21387868136499999</c:v>
                </c:pt>
                <c:pt idx="93">
                  <c:v>0.211420582858</c:v>
                </c:pt>
                <c:pt idx="94">
                  <c:v>0.21382113821099999</c:v>
                </c:pt>
                <c:pt idx="95">
                  <c:v>0.22452892199800001</c:v>
                </c:pt>
                <c:pt idx="96">
                  <c:v>0.223210364514</c:v>
                </c:pt>
                <c:pt idx="97">
                  <c:v>0.236315999316</c:v>
                </c:pt>
                <c:pt idx="98">
                  <c:v>0.24147262784000001</c:v>
                </c:pt>
                <c:pt idx="99">
                  <c:v>0.25576836917500001</c:v>
                </c:pt>
                <c:pt idx="100">
                  <c:v>0.26356632115700002</c:v>
                </c:pt>
                <c:pt idx="101">
                  <c:v>0.263889628722</c:v>
                </c:pt>
                <c:pt idx="102">
                  <c:v>0.260622931876</c:v>
                </c:pt>
                <c:pt idx="103">
                  <c:v>0.26483470643399998</c:v>
                </c:pt>
                <c:pt idx="104">
                  <c:v>0.26636545669200001</c:v>
                </c:pt>
                <c:pt idx="105">
                  <c:v>0.26948480845400002</c:v>
                </c:pt>
                <c:pt idx="106">
                  <c:v>0.26813349814499998</c:v>
                </c:pt>
                <c:pt idx="107">
                  <c:v>0.26951448821099999</c:v>
                </c:pt>
                <c:pt idx="108">
                  <c:v>0.27930494231500003</c:v>
                </c:pt>
                <c:pt idx="109">
                  <c:v>0.27669117307000002</c:v>
                </c:pt>
                <c:pt idx="110">
                  <c:v>0.27869450268899998</c:v>
                </c:pt>
                <c:pt idx="111">
                  <c:v>0.28292317191400002</c:v>
                </c:pt>
                <c:pt idx="112">
                  <c:v>0.285768357305</c:v>
                </c:pt>
                <c:pt idx="113">
                  <c:v>0.299548018079</c:v>
                </c:pt>
                <c:pt idx="114">
                  <c:v>0.30522912935199997</c:v>
                </c:pt>
                <c:pt idx="115">
                  <c:v>0.30575486894100001</c:v>
                </c:pt>
                <c:pt idx="116">
                  <c:v>0.31006534623300003</c:v>
                </c:pt>
                <c:pt idx="117">
                  <c:v>0.30630719762500003</c:v>
                </c:pt>
                <c:pt idx="118">
                  <c:v>0.31734458940900001</c:v>
                </c:pt>
                <c:pt idx="119">
                  <c:v>0.33884789881299998</c:v>
                </c:pt>
                <c:pt idx="120">
                  <c:v>0.34945740521000002</c:v>
                </c:pt>
                <c:pt idx="121">
                  <c:v>0.36118088025</c:v>
                </c:pt>
                <c:pt idx="122">
                  <c:v>0.36733749710800001</c:v>
                </c:pt>
                <c:pt idx="123">
                  <c:v>0.36924803591400002</c:v>
                </c:pt>
                <c:pt idx="124">
                  <c:v>0.37762545361200001</c:v>
                </c:pt>
                <c:pt idx="125">
                  <c:v>0.37508749824999998</c:v>
                </c:pt>
                <c:pt idx="126">
                  <c:v>0.37512193481099998</c:v>
                </c:pt>
                <c:pt idx="127">
                  <c:v>0.381261873812</c:v>
                </c:pt>
                <c:pt idx="128">
                  <c:v>0.37771533215399999</c:v>
                </c:pt>
                <c:pt idx="129">
                  <c:v>0.37305656859199998</c:v>
                </c:pt>
                <c:pt idx="130">
                  <c:v>0.38269905532999998</c:v>
                </c:pt>
                <c:pt idx="131">
                  <c:v>0.38014607325499999</c:v>
                </c:pt>
                <c:pt idx="132">
                  <c:v>0.375013908979</c:v>
                </c:pt>
                <c:pt idx="133">
                  <c:v>0.36395881996700002</c:v>
                </c:pt>
                <c:pt idx="134">
                  <c:v>0.34947104177799998</c:v>
                </c:pt>
                <c:pt idx="135">
                  <c:v>0.32935897838099998</c:v>
                </c:pt>
                <c:pt idx="136">
                  <c:v>0.32457398205799998</c:v>
                </c:pt>
                <c:pt idx="137">
                  <c:v>0.31073736026999998</c:v>
                </c:pt>
                <c:pt idx="138">
                  <c:v>0.30917453569800002</c:v>
                </c:pt>
                <c:pt idx="139">
                  <c:v>0.30707890826000001</c:v>
                </c:pt>
                <c:pt idx="140">
                  <c:v>0.30413935193800001</c:v>
                </c:pt>
                <c:pt idx="141">
                  <c:v>0.29513125939599999</c:v>
                </c:pt>
                <c:pt idx="142">
                  <c:v>0.30151521241099999</c:v>
                </c:pt>
                <c:pt idx="143">
                  <c:v>0.29297574474999999</c:v>
                </c:pt>
                <c:pt idx="144">
                  <c:v>0.28867465908599999</c:v>
                </c:pt>
                <c:pt idx="145">
                  <c:v>0.28512447875800001</c:v>
                </c:pt>
                <c:pt idx="146">
                  <c:v>0.28091850742500002</c:v>
                </c:pt>
                <c:pt idx="147">
                  <c:v>0.27677741144599999</c:v>
                </c:pt>
                <c:pt idx="148">
                  <c:v>0.271711528694</c:v>
                </c:pt>
                <c:pt idx="149">
                  <c:v>0.27137343736800001</c:v>
                </c:pt>
                <c:pt idx="150">
                  <c:v>0.269618384988</c:v>
                </c:pt>
                <c:pt idx="151">
                  <c:v>0.26914929672900001</c:v>
                </c:pt>
                <c:pt idx="152">
                  <c:v>0.27142187566499998</c:v>
                </c:pt>
                <c:pt idx="153">
                  <c:v>0.27157885842200002</c:v>
                </c:pt>
                <c:pt idx="154">
                  <c:v>0.27004449668300001</c:v>
                </c:pt>
                <c:pt idx="155">
                  <c:v>0.27360641891800003</c:v>
                </c:pt>
                <c:pt idx="156">
                  <c:v>0.27015706806200002</c:v>
                </c:pt>
                <c:pt idx="157">
                  <c:v>0.27227180868900003</c:v>
                </c:pt>
                <c:pt idx="158">
                  <c:v>0.27697025709899997</c:v>
                </c:pt>
                <c:pt idx="159">
                  <c:v>0.27617290679599998</c:v>
                </c:pt>
                <c:pt idx="160">
                  <c:v>0.27853900830599998</c:v>
                </c:pt>
                <c:pt idx="161">
                  <c:v>0.27977484968600003</c:v>
                </c:pt>
                <c:pt idx="162">
                  <c:v>0.28241240765499998</c:v>
                </c:pt>
                <c:pt idx="163">
                  <c:v>0.28892710676</c:v>
                </c:pt>
                <c:pt idx="164">
                  <c:v>0.28667166350599999</c:v>
                </c:pt>
                <c:pt idx="165">
                  <c:v>0.28344131517400001</c:v>
                </c:pt>
                <c:pt idx="166">
                  <c:v>0.28462420606900002</c:v>
                </c:pt>
                <c:pt idx="167">
                  <c:v>0.28624292555500003</c:v>
                </c:pt>
                <c:pt idx="168">
                  <c:v>0.29827019925499998</c:v>
                </c:pt>
                <c:pt idx="169">
                  <c:v>0.29695058742199998</c:v>
                </c:pt>
                <c:pt idx="170">
                  <c:v>0.29796072507499999</c:v>
                </c:pt>
                <c:pt idx="171">
                  <c:v>0.30446858916699998</c:v>
                </c:pt>
                <c:pt idx="172">
                  <c:v>0.30995099428900003</c:v>
                </c:pt>
                <c:pt idx="173">
                  <c:v>0.31172130156</c:v>
                </c:pt>
                <c:pt idx="174">
                  <c:v>0.31532064167700002</c:v>
                </c:pt>
                <c:pt idx="175">
                  <c:v>0.31752340913400001</c:v>
                </c:pt>
                <c:pt idx="176">
                  <c:v>0.32492924176900001</c:v>
                </c:pt>
                <c:pt idx="177">
                  <c:v>0.330979473857</c:v>
                </c:pt>
                <c:pt idx="178">
                  <c:v>0.33431190032899999</c:v>
                </c:pt>
                <c:pt idx="179">
                  <c:v>0.33364199729299998</c:v>
                </c:pt>
                <c:pt idx="180">
                  <c:v>0.33408994183500001</c:v>
                </c:pt>
                <c:pt idx="181">
                  <c:v>0.33809992270299999</c:v>
                </c:pt>
                <c:pt idx="182">
                  <c:v>0.336567471201</c:v>
                </c:pt>
                <c:pt idx="183">
                  <c:v>0.33728510149599999</c:v>
                </c:pt>
                <c:pt idx="184">
                  <c:v>0.33722177527399999</c:v>
                </c:pt>
                <c:pt idx="185">
                  <c:v>0.32889289529900001</c:v>
                </c:pt>
                <c:pt idx="186">
                  <c:v>0.33647882627499998</c:v>
                </c:pt>
                <c:pt idx="187">
                  <c:v>0.33490362604899998</c:v>
                </c:pt>
                <c:pt idx="188">
                  <c:v>0.33116621983900002</c:v>
                </c:pt>
                <c:pt idx="189">
                  <c:v>0.32337517339299998</c:v>
                </c:pt>
                <c:pt idx="190">
                  <c:v>0.32047377326499998</c:v>
                </c:pt>
                <c:pt idx="191">
                  <c:v>0.30820918315399998</c:v>
                </c:pt>
                <c:pt idx="192">
                  <c:v>0.32274156074799998</c:v>
                </c:pt>
                <c:pt idx="193">
                  <c:v>0.31396105007300001</c:v>
                </c:pt>
                <c:pt idx="194">
                  <c:v>0.31228106325900001</c:v>
                </c:pt>
                <c:pt idx="195">
                  <c:v>0.30809567306000002</c:v>
                </c:pt>
                <c:pt idx="196">
                  <c:v>0.311347349115</c:v>
                </c:pt>
                <c:pt idx="197">
                  <c:v>0.30680764873400002</c:v>
                </c:pt>
                <c:pt idx="198">
                  <c:v>0.310026798454</c:v>
                </c:pt>
                <c:pt idx="199">
                  <c:v>0.28871919963199999</c:v>
                </c:pt>
                <c:pt idx="200">
                  <c:v>0.284985112717</c:v>
                </c:pt>
                <c:pt idx="201">
                  <c:v>0.28345364674000001</c:v>
                </c:pt>
                <c:pt idx="202">
                  <c:v>0.27644717800200003</c:v>
                </c:pt>
                <c:pt idx="203">
                  <c:v>0.26876379690899999</c:v>
                </c:pt>
                <c:pt idx="204">
                  <c:v>0.26283748014800001</c:v>
                </c:pt>
                <c:pt idx="205">
                  <c:v>0.25542959654899999</c:v>
                </c:pt>
                <c:pt idx="206">
                  <c:v>0.25526078608000002</c:v>
                </c:pt>
                <c:pt idx="207">
                  <c:v>0.253438035635</c:v>
                </c:pt>
                <c:pt idx="208">
                  <c:v>0.25253054805000003</c:v>
                </c:pt>
                <c:pt idx="209">
                  <c:v>0.25005034030000001</c:v>
                </c:pt>
                <c:pt idx="210">
                  <c:v>0.243309801346</c:v>
                </c:pt>
                <c:pt idx="211">
                  <c:v>0.24310474127100001</c:v>
                </c:pt>
                <c:pt idx="212">
                  <c:v>0.23716453978800001</c:v>
                </c:pt>
                <c:pt idx="213">
                  <c:v>0.235365398956</c:v>
                </c:pt>
                <c:pt idx="214">
                  <c:v>0.230846197827</c:v>
                </c:pt>
                <c:pt idx="215">
                  <c:v>0.22958989937300001</c:v>
                </c:pt>
                <c:pt idx="216">
                  <c:v>0.23227990970599999</c:v>
                </c:pt>
                <c:pt idx="217">
                  <c:v>0.20906079829300001</c:v>
                </c:pt>
                <c:pt idx="218">
                  <c:v>0.196455358631</c:v>
                </c:pt>
                <c:pt idx="219">
                  <c:v>0.19047348699800001</c:v>
                </c:pt>
                <c:pt idx="220">
                  <c:v>0.184536949437</c:v>
                </c:pt>
                <c:pt idx="221">
                  <c:v>0.182620963528</c:v>
                </c:pt>
                <c:pt idx="222">
                  <c:v>0.180692283264</c:v>
                </c:pt>
                <c:pt idx="223">
                  <c:v>0.17169687908799999</c:v>
                </c:pt>
                <c:pt idx="224">
                  <c:v>0.17382452738699999</c:v>
                </c:pt>
                <c:pt idx="225">
                  <c:v>0.162867924528</c:v>
                </c:pt>
                <c:pt idx="226">
                  <c:v>0.15293572788500001</c:v>
                </c:pt>
                <c:pt idx="227">
                  <c:v>0.147508270755</c:v>
                </c:pt>
                <c:pt idx="228">
                  <c:v>0.14550420392999999</c:v>
                </c:pt>
                <c:pt idx="229">
                  <c:v>0.14249853121799999</c:v>
                </c:pt>
                <c:pt idx="230">
                  <c:v>0.14022040062900001</c:v>
                </c:pt>
                <c:pt idx="231">
                  <c:v>0.13360481981399999</c:v>
                </c:pt>
                <c:pt idx="232">
                  <c:v>0.128388425025</c:v>
                </c:pt>
                <c:pt idx="233">
                  <c:v>0.12747098956200001</c:v>
                </c:pt>
                <c:pt idx="234">
                  <c:v>0.121087706771</c:v>
                </c:pt>
                <c:pt idx="235">
                  <c:v>0.116317693813</c:v>
                </c:pt>
                <c:pt idx="236">
                  <c:v>0.117044975615</c:v>
                </c:pt>
                <c:pt idx="237">
                  <c:v>0.114112829289</c:v>
                </c:pt>
                <c:pt idx="238">
                  <c:v>0.110888861107</c:v>
                </c:pt>
                <c:pt idx="239">
                  <c:v>0.107396915328</c:v>
                </c:pt>
                <c:pt idx="240">
                  <c:v>0.103504790721</c:v>
                </c:pt>
                <c:pt idx="241">
                  <c:v>0.100707709651</c:v>
                </c:pt>
                <c:pt idx="242">
                  <c:v>0.10287547977</c:v>
                </c:pt>
                <c:pt idx="243">
                  <c:v>0.10023702594800001</c:v>
                </c:pt>
                <c:pt idx="244">
                  <c:v>9.3400953933000005E-2</c:v>
                </c:pt>
                <c:pt idx="245">
                  <c:v>8.8276836157999999E-2</c:v>
                </c:pt>
                <c:pt idx="246">
                  <c:v>8.4062026348999994E-2</c:v>
                </c:pt>
                <c:pt idx="247">
                  <c:v>8.0265009380000002E-2</c:v>
                </c:pt>
                <c:pt idx="248">
                  <c:v>7.6503387492999994E-2</c:v>
                </c:pt>
                <c:pt idx="249">
                  <c:v>7.2117703810000003E-2</c:v>
                </c:pt>
                <c:pt idx="250">
                  <c:v>7.0841889116999998E-2</c:v>
                </c:pt>
                <c:pt idx="251">
                  <c:v>6.8339100346000006E-2</c:v>
                </c:pt>
                <c:pt idx="252">
                  <c:v>6.3821607074000003E-2</c:v>
                </c:pt>
                <c:pt idx="253">
                  <c:v>5.8439416925000001E-2</c:v>
                </c:pt>
                <c:pt idx="254">
                  <c:v>5.4773602443000002E-2</c:v>
                </c:pt>
                <c:pt idx="255">
                  <c:v>5.2649251224999999E-2</c:v>
                </c:pt>
                <c:pt idx="256">
                  <c:v>5.1811716898000001E-2</c:v>
                </c:pt>
                <c:pt idx="257">
                  <c:v>5.0834752981E-2</c:v>
                </c:pt>
                <c:pt idx="258">
                  <c:v>4.5545373112999998E-2</c:v>
                </c:pt>
                <c:pt idx="259">
                  <c:v>4.2943928495999997E-2</c:v>
                </c:pt>
                <c:pt idx="260">
                  <c:v>4.0792134438999997E-2</c:v>
                </c:pt>
                <c:pt idx="261">
                  <c:v>3.7978257799999998E-2</c:v>
                </c:pt>
                <c:pt idx="262">
                  <c:v>3.4358938252000003E-2</c:v>
                </c:pt>
                <c:pt idx="263">
                  <c:v>3.2037259190999999E-2</c:v>
                </c:pt>
                <c:pt idx="264">
                  <c:v>3.1504424778000001E-2</c:v>
                </c:pt>
                <c:pt idx="265">
                  <c:v>3.1172163935999999E-2</c:v>
                </c:pt>
                <c:pt idx="266">
                  <c:v>2.8391663389E-2</c:v>
                </c:pt>
                <c:pt idx="267">
                  <c:v>2.8280447773000001E-2</c:v>
                </c:pt>
                <c:pt idx="268">
                  <c:v>2.6447911062999999E-2</c:v>
                </c:pt>
                <c:pt idx="269">
                  <c:v>2.6566179934000001E-2</c:v>
                </c:pt>
                <c:pt idx="270">
                  <c:v>2.6465758717E-2</c:v>
                </c:pt>
                <c:pt idx="271">
                  <c:v>2.6529400118E-2</c:v>
                </c:pt>
                <c:pt idx="272">
                  <c:v>2.5298231179999998E-2</c:v>
                </c:pt>
                <c:pt idx="273">
                  <c:v>2.3909985934999999E-2</c:v>
                </c:pt>
                <c:pt idx="274">
                  <c:v>2.2169969768000002E-2</c:v>
                </c:pt>
                <c:pt idx="275">
                  <c:v>2.1659826720999999E-2</c:v>
                </c:pt>
                <c:pt idx="276">
                  <c:v>1.9978594363E-2</c:v>
                </c:pt>
                <c:pt idx="277">
                  <c:v>1.9188993482E-2</c:v>
                </c:pt>
                <c:pt idx="278">
                  <c:v>1.8387725279999999E-2</c:v>
                </c:pt>
                <c:pt idx="279">
                  <c:v>1.7634187153999999E-2</c:v>
                </c:pt>
                <c:pt idx="280">
                  <c:v>1.5423147904E-2</c:v>
                </c:pt>
                <c:pt idx="281">
                  <c:v>1.3791238507E-2</c:v>
                </c:pt>
                <c:pt idx="282">
                  <c:v>1.3248766737E-2</c:v>
                </c:pt>
                <c:pt idx="283">
                  <c:v>1.0577472841E-2</c:v>
                </c:pt>
                <c:pt idx="284">
                  <c:v>9.8740698340000002E-3</c:v>
                </c:pt>
                <c:pt idx="285">
                  <c:v>1.0626076967000001E-2</c:v>
                </c:pt>
                <c:pt idx="286">
                  <c:v>9.438202247E-3</c:v>
                </c:pt>
                <c:pt idx="287">
                  <c:v>9.4128193629999992E-3</c:v>
                </c:pt>
                <c:pt idx="288">
                  <c:v>1.0695187165E-2</c:v>
                </c:pt>
                <c:pt idx="289">
                  <c:v>8.7062776840000008E-3</c:v>
                </c:pt>
                <c:pt idx="290">
                  <c:v>8.8286299849999993E-3</c:v>
                </c:pt>
                <c:pt idx="291">
                  <c:v>9.3354430370000008E-3</c:v>
                </c:pt>
                <c:pt idx="292">
                  <c:v>9.1127098320000002E-3</c:v>
                </c:pt>
                <c:pt idx="293">
                  <c:v>8.6760925439999994E-3</c:v>
                </c:pt>
                <c:pt idx="294">
                  <c:v>7.975564228E-3</c:v>
                </c:pt>
                <c:pt idx="295">
                  <c:v>6.2728698370000001E-3</c:v>
                </c:pt>
                <c:pt idx="296">
                  <c:v>5.7616132509999999E-3</c:v>
                </c:pt>
                <c:pt idx="297">
                  <c:v>5.457522284E-3</c:v>
                </c:pt>
                <c:pt idx="298">
                  <c:v>5.1784723500000003E-3</c:v>
                </c:pt>
                <c:pt idx="299">
                  <c:v>4.4485634839999998E-3</c:v>
                </c:pt>
                <c:pt idx="300">
                  <c:v>4.0291634680000004E-3</c:v>
                </c:pt>
                <c:pt idx="301">
                  <c:v>3.0870152420000001E-3</c:v>
                </c:pt>
                <c:pt idx="302">
                  <c:v>2.1700532640000002E-3</c:v>
                </c:pt>
                <c:pt idx="303">
                  <c:v>3.0549898159999999E-3</c:v>
                </c:pt>
                <c:pt idx="304">
                  <c:v>2.9356259170000001E-3</c:v>
                </c:pt>
                <c:pt idx="305">
                  <c:v>3.807106598E-3</c:v>
                </c:pt>
                <c:pt idx="306">
                  <c:v>3.890209639E-3</c:v>
                </c:pt>
                <c:pt idx="307">
                  <c:v>3.836317135E-3</c:v>
                </c:pt>
                <c:pt idx="308">
                  <c:v>4.3750000000000004E-3</c:v>
                </c:pt>
                <c:pt idx="309">
                  <c:v>6.3946406819999999E-3</c:v>
                </c:pt>
                <c:pt idx="310">
                  <c:v>5.5882352940000001E-3</c:v>
                </c:pt>
                <c:pt idx="311">
                  <c:v>6.624423963E-3</c:v>
                </c:pt>
                <c:pt idx="312">
                  <c:v>5.7045065600000002E-3</c:v>
                </c:pt>
                <c:pt idx="313">
                  <c:v>6.4461883399999998E-3</c:v>
                </c:pt>
                <c:pt idx="314">
                  <c:v>9.2054263559999995E-3</c:v>
                </c:pt>
                <c:pt idx="315">
                  <c:v>1.0159965412E-2</c:v>
                </c:pt>
                <c:pt idx="316">
                  <c:v>9.6788385389999995E-3</c:v>
                </c:pt>
                <c:pt idx="317">
                  <c:v>9.9818511790000005E-3</c:v>
                </c:pt>
                <c:pt idx="318">
                  <c:v>1.0562571756E-2</c:v>
                </c:pt>
                <c:pt idx="319">
                  <c:v>1.0978956999000001E-2</c:v>
                </c:pt>
                <c:pt idx="320">
                  <c:v>1.1272141705999999E-2</c:v>
                </c:pt>
                <c:pt idx="321">
                  <c:v>9.2285849500000003E-3</c:v>
                </c:pt>
                <c:pt idx="322">
                  <c:v>8.4786821699999997E-3</c:v>
                </c:pt>
                <c:pt idx="323">
                  <c:v>9.0553108169999993E-3</c:v>
                </c:pt>
                <c:pt idx="324">
                  <c:v>9.2367525520000004E-3</c:v>
                </c:pt>
                <c:pt idx="325">
                  <c:v>9.320578857E-3</c:v>
                </c:pt>
                <c:pt idx="326">
                  <c:v>9.0597453469999992E-3</c:v>
                </c:pt>
                <c:pt idx="327">
                  <c:v>8.30078125E-3</c:v>
                </c:pt>
                <c:pt idx="328">
                  <c:v>1.0236412380999999E-2</c:v>
                </c:pt>
                <c:pt idx="329">
                  <c:v>1.0266438523E-2</c:v>
                </c:pt>
                <c:pt idx="330">
                  <c:v>1.0168650793E-2</c:v>
                </c:pt>
                <c:pt idx="331">
                  <c:v>1.1366506693E-2</c:v>
                </c:pt>
                <c:pt idx="332">
                  <c:v>1.0749936012E-2</c:v>
                </c:pt>
                <c:pt idx="333">
                  <c:v>1.0373443983E-2</c:v>
                </c:pt>
                <c:pt idx="334">
                  <c:v>1.0693792383E-2</c:v>
                </c:pt>
                <c:pt idx="335">
                  <c:v>1.0182207931E-2</c:v>
                </c:pt>
                <c:pt idx="336">
                  <c:v>1.0673234811E-2</c:v>
                </c:pt>
                <c:pt idx="337">
                  <c:v>1.0761589403E-2</c:v>
                </c:pt>
                <c:pt idx="338">
                  <c:v>1.0201190137999999E-2</c:v>
                </c:pt>
                <c:pt idx="339">
                  <c:v>1.1618022101999999E-2</c:v>
                </c:pt>
                <c:pt idx="340">
                  <c:v>1.1704253497E-2</c:v>
                </c:pt>
                <c:pt idx="341">
                  <c:v>1.1458034947E-2</c:v>
                </c:pt>
                <c:pt idx="342">
                  <c:v>1.1085844229E-2</c:v>
                </c:pt>
                <c:pt idx="343">
                  <c:v>1.0608598548E-2</c:v>
                </c:pt>
                <c:pt idx="344">
                  <c:v>1.1624688624E-2</c:v>
                </c:pt>
                <c:pt idx="345">
                  <c:v>1.1372867587000001E-2</c:v>
                </c:pt>
                <c:pt idx="346">
                  <c:v>1.059602649E-2</c:v>
                </c:pt>
                <c:pt idx="347">
                  <c:v>1.0260457774E-2</c:v>
                </c:pt>
                <c:pt idx="348">
                  <c:v>1.1041009463E-2</c:v>
                </c:pt>
                <c:pt idx="349">
                  <c:v>1.1283127787E-2</c:v>
                </c:pt>
                <c:pt idx="350">
                  <c:v>1.1823436678E-2</c:v>
                </c:pt>
                <c:pt idx="351">
                  <c:v>1.1303890641E-2</c:v>
                </c:pt>
                <c:pt idx="352">
                  <c:v>1.0715242432E-2</c:v>
                </c:pt>
                <c:pt idx="353">
                  <c:v>1.0549093859E-2</c:v>
                </c:pt>
                <c:pt idx="354">
                  <c:v>1.1634199134E-2</c:v>
                </c:pt>
                <c:pt idx="355">
                  <c:v>1.1021505375999999E-2</c:v>
                </c:pt>
                <c:pt idx="356">
                  <c:v>9.1719077560000004E-3</c:v>
                </c:pt>
                <c:pt idx="357">
                  <c:v>1.1119936457000001E-2</c:v>
                </c:pt>
                <c:pt idx="358">
                  <c:v>1.2001043568999999E-2</c:v>
                </c:pt>
                <c:pt idx="359">
                  <c:v>1.3154566152000001E-2</c:v>
                </c:pt>
                <c:pt idx="360">
                  <c:v>1.2999999999999999E-2</c:v>
                </c:pt>
                <c:pt idx="361">
                  <c:v>1.3052208835000001E-2</c:v>
                </c:pt>
                <c:pt idx="362">
                  <c:v>1.2740444666E-2</c:v>
                </c:pt>
                <c:pt idx="363">
                  <c:v>1.3151239251000001E-2</c:v>
                </c:pt>
                <c:pt idx="364">
                  <c:v>1.1653313911E-2</c:v>
                </c:pt>
                <c:pt idx="365">
                  <c:v>1.3759213758999999E-2</c:v>
                </c:pt>
                <c:pt idx="366">
                  <c:v>1.5228426394999999E-2</c:v>
                </c:pt>
                <c:pt idx="367">
                  <c:v>1.9443110897000002E-2</c:v>
                </c:pt>
                <c:pt idx="368">
                  <c:v>2.0510374432999998E-2</c:v>
                </c:pt>
                <c:pt idx="369">
                  <c:v>2.1827776444999999E-2</c:v>
                </c:pt>
                <c:pt idx="370">
                  <c:v>2.5035427491E-2</c:v>
                </c:pt>
                <c:pt idx="371">
                  <c:v>2.9404790135000001E-2</c:v>
                </c:pt>
                <c:pt idx="372">
                  <c:v>2.7681660899E-2</c:v>
                </c:pt>
                <c:pt idx="373">
                  <c:v>2.7415730337E-2</c:v>
                </c:pt>
                <c:pt idx="374">
                  <c:v>2.6379424049000001E-2</c:v>
                </c:pt>
                <c:pt idx="375">
                  <c:v>2.5495750708E-2</c:v>
                </c:pt>
                <c:pt idx="376">
                  <c:v>2.5233848161000001E-2</c:v>
                </c:pt>
                <c:pt idx="377">
                  <c:v>2.3599425404999999E-2</c:v>
                </c:pt>
                <c:pt idx="378">
                  <c:v>2.3246245628000001E-2</c:v>
                </c:pt>
                <c:pt idx="379">
                  <c:v>2.3090945918000001E-2</c:v>
                </c:pt>
                <c:pt idx="380">
                  <c:v>2.4603497355999999E-2</c:v>
                </c:pt>
                <c:pt idx="381">
                  <c:v>2.8072989773E-2</c:v>
                </c:pt>
                <c:pt idx="382">
                  <c:v>2.8444623764000001E-2</c:v>
                </c:pt>
                <c:pt idx="383">
                  <c:v>2.9500909273999999E-2</c:v>
                </c:pt>
                <c:pt idx="384">
                  <c:v>3.1093716024999999E-2</c:v>
                </c:pt>
                <c:pt idx="385">
                  <c:v>2.9320669006E-2</c:v>
                </c:pt>
                <c:pt idx="386">
                  <c:v>3.0662305805000001E-2</c:v>
                </c:pt>
                <c:pt idx="387">
                  <c:v>2.8918099089000001E-2</c:v>
                </c:pt>
                <c:pt idx="388">
                  <c:v>2.5641025641000001E-2</c:v>
                </c:pt>
                <c:pt idx="389">
                  <c:v>2.692003167E-2</c:v>
                </c:pt>
                <c:pt idx="390">
                  <c:v>2.7875932469000001E-2</c:v>
                </c:pt>
                <c:pt idx="391">
                  <c:v>2.9238690695E-2</c:v>
                </c:pt>
                <c:pt idx="392">
                  <c:v>3.1135531134999998E-2</c:v>
                </c:pt>
                <c:pt idx="393">
                  <c:v>3.0717399919999999E-2</c:v>
                </c:pt>
                <c:pt idx="394">
                  <c:v>3.6290322579999999E-2</c:v>
                </c:pt>
                <c:pt idx="395">
                  <c:v>4.0334855402999997E-2</c:v>
                </c:pt>
                <c:pt idx="396">
                  <c:v>4.1682384006000002E-2</c:v>
                </c:pt>
                <c:pt idx="397">
                  <c:v>4.1988326115000002E-2</c:v>
                </c:pt>
                <c:pt idx="398">
                  <c:v>4.2851865533000001E-2</c:v>
                </c:pt>
                <c:pt idx="399">
                  <c:v>4.7405189620000003E-2</c:v>
                </c:pt>
                <c:pt idx="400">
                  <c:v>5.4835002462000001E-2</c:v>
                </c:pt>
                <c:pt idx="401">
                  <c:v>5.6254029657999999E-2</c:v>
                </c:pt>
                <c:pt idx="402">
                  <c:v>5.9000793021000003E-2</c:v>
                </c:pt>
                <c:pt idx="403">
                  <c:v>5.8767471410000001E-2</c:v>
                </c:pt>
                <c:pt idx="404">
                  <c:v>5.8312262958000002E-2</c:v>
                </c:pt>
                <c:pt idx="405">
                  <c:v>6.1989205859000002E-2</c:v>
                </c:pt>
                <c:pt idx="406">
                  <c:v>6.2108957728999999E-2</c:v>
                </c:pt>
                <c:pt idx="407">
                  <c:v>6.0980934361000001E-2</c:v>
                </c:pt>
                <c:pt idx="408">
                  <c:v>6.2217029355000002E-2</c:v>
                </c:pt>
                <c:pt idx="409">
                  <c:v>6.5780265919999997E-2</c:v>
                </c:pt>
                <c:pt idx="410">
                  <c:v>7.0187440141999999E-2</c:v>
                </c:pt>
                <c:pt idx="411">
                  <c:v>7.1360994728999996E-2</c:v>
                </c:pt>
                <c:pt idx="412">
                  <c:v>7.7546882918999999E-2</c:v>
                </c:pt>
                <c:pt idx="413">
                  <c:v>8.7706771390999999E-2</c:v>
                </c:pt>
                <c:pt idx="414">
                  <c:v>9.4799815922E-2</c:v>
                </c:pt>
                <c:pt idx="415">
                  <c:v>0.100842127704</c:v>
                </c:pt>
                <c:pt idx="416">
                  <c:v>0.10988126383500001</c:v>
                </c:pt>
                <c:pt idx="417">
                  <c:v>0.112387122104</c:v>
                </c:pt>
                <c:pt idx="418">
                  <c:v>0.115458937198</c:v>
                </c:pt>
                <c:pt idx="419">
                  <c:v>0.12231343971899999</c:v>
                </c:pt>
                <c:pt idx="420">
                  <c:v>0.129394361294</c:v>
                </c:pt>
                <c:pt idx="421">
                  <c:v>0.13585837793300001</c:v>
                </c:pt>
                <c:pt idx="422">
                  <c:v>0.14511545293</c:v>
                </c:pt>
                <c:pt idx="423">
                  <c:v>0.15165023574700001</c:v>
                </c:pt>
                <c:pt idx="424">
                  <c:v>0.15704061251599999</c:v>
                </c:pt>
                <c:pt idx="425">
                  <c:v>0.158364850728</c:v>
                </c:pt>
                <c:pt idx="426">
                  <c:v>0.17242680350100001</c:v>
                </c:pt>
                <c:pt idx="427">
                  <c:v>0.18410398465799999</c:v>
                </c:pt>
                <c:pt idx="428">
                  <c:v>0.201718466805</c:v>
                </c:pt>
                <c:pt idx="429">
                  <c:v>0.209329446064</c:v>
                </c:pt>
                <c:pt idx="430">
                  <c:v>0.22311066688799999</c:v>
                </c:pt>
                <c:pt idx="431">
                  <c:v>0.22782400609100001</c:v>
                </c:pt>
                <c:pt idx="432">
                  <c:v>0.23121512541299999</c:v>
                </c:pt>
                <c:pt idx="433">
                  <c:v>0.23676703645</c:v>
                </c:pt>
                <c:pt idx="434">
                  <c:v>0.244041033893</c:v>
                </c:pt>
                <c:pt idx="435">
                  <c:v>0.24485125858099999</c:v>
                </c:pt>
                <c:pt idx="436">
                  <c:v>0.245352802728</c:v>
                </c:pt>
                <c:pt idx="437">
                  <c:v>0.247005988023</c:v>
                </c:pt>
                <c:pt idx="438">
                  <c:v>0.24757997603000001</c:v>
                </c:pt>
                <c:pt idx="439">
                  <c:v>0.24883487160699999</c:v>
                </c:pt>
                <c:pt idx="440">
                  <c:v>0.24798619102399999</c:v>
                </c:pt>
                <c:pt idx="441">
                  <c:v>0.249989243147</c:v>
                </c:pt>
                <c:pt idx="442">
                  <c:v>0.25773812261399998</c:v>
                </c:pt>
                <c:pt idx="443">
                  <c:v>0.256117747058</c:v>
                </c:pt>
                <c:pt idx="444">
                  <c:v>0.26417910447699999</c:v>
                </c:pt>
                <c:pt idx="445">
                  <c:v>0.271742289011</c:v>
                </c:pt>
                <c:pt idx="446">
                  <c:v>0.27186568078700002</c:v>
                </c:pt>
                <c:pt idx="447">
                  <c:v>0.274359181693</c:v>
                </c:pt>
                <c:pt idx="448">
                  <c:v>0.278671384912</c:v>
                </c:pt>
                <c:pt idx="449">
                  <c:v>0.26323518876699997</c:v>
                </c:pt>
                <c:pt idx="450">
                  <c:v>0.27501230401400001</c:v>
                </c:pt>
                <c:pt idx="451">
                  <c:v>0.27494252873500002</c:v>
                </c:pt>
                <c:pt idx="452">
                  <c:v>0.27203781438399999</c:v>
                </c:pt>
                <c:pt idx="453">
                  <c:v>0.27460720073200001</c:v>
                </c:pt>
                <c:pt idx="454">
                  <c:v>0.276079387186</c:v>
                </c:pt>
                <c:pt idx="455">
                  <c:v>0.27473329395000001</c:v>
                </c:pt>
                <c:pt idx="456">
                  <c:v>0.28500615222300002</c:v>
                </c:pt>
                <c:pt idx="457">
                  <c:v>0.28204679794300003</c:v>
                </c:pt>
                <c:pt idx="458">
                  <c:v>0.27899686520299999</c:v>
                </c:pt>
                <c:pt idx="459">
                  <c:v>0.27631578947300001</c:v>
                </c:pt>
                <c:pt idx="460">
                  <c:v>0.27116508591999999</c:v>
                </c:pt>
                <c:pt idx="461">
                  <c:v>0.269456837334</c:v>
                </c:pt>
                <c:pt idx="462">
                  <c:v>0.26591110324</c:v>
                </c:pt>
                <c:pt idx="463">
                  <c:v>0.262557324955</c:v>
                </c:pt>
                <c:pt idx="464">
                  <c:v>0.25790736298200001</c:v>
                </c:pt>
                <c:pt idx="465">
                  <c:v>0.25283821239999998</c:v>
                </c:pt>
                <c:pt idx="466">
                  <c:v>0.24878612716699999</c:v>
                </c:pt>
                <c:pt idx="467">
                  <c:v>0.24895202608200001</c:v>
                </c:pt>
                <c:pt idx="468">
                  <c:v>0.24139283193399999</c:v>
                </c:pt>
                <c:pt idx="469">
                  <c:v>0.23817148346799999</c:v>
                </c:pt>
                <c:pt idx="470">
                  <c:v>0.23250092262200001</c:v>
                </c:pt>
                <c:pt idx="471">
                  <c:v>0.22327189911799999</c:v>
                </c:pt>
                <c:pt idx="472">
                  <c:v>0.21405681621299999</c:v>
                </c:pt>
                <c:pt idx="473">
                  <c:v>0.210854289123</c:v>
                </c:pt>
                <c:pt idx="474">
                  <c:v>0.20885822390299999</c:v>
                </c:pt>
                <c:pt idx="475">
                  <c:v>0.20340297418100001</c:v>
                </c:pt>
                <c:pt idx="476">
                  <c:v>0.19607105930999999</c:v>
                </c:pt>
                <c:pt idx="477">
                  <c:v>0.189624501177</c:v>
                </c:pt>
                <c:pt idx="478">
                  <c:v>0.183247897277</c:v>
                </c:pt>
                <c:pt idx="479">
                  <c:v>0.178171159262</c:v>
                </c:pt>
                <c:pt idx="480">
                  <c:v>0.173847362378</c:v>
                </c:pt>
                <c:pt idx="481">
                  <c:v>0.171362502281</c:v>
                </c:pt>
                <c:pt idx="482">
                  <c:v>0.16939515121199999</c:v>
                </c:pt>
                <c:pt idx="483">
                  <c:v>0.162373297178</c:v>
                </c:pt>
                <c:pt idx="484">
                  <c:v>0.15906495600100001</c:v>
                </c:pt>
                <c:pt idx="485">
                  <c:v>0.158029172548</c:v>
                </c:pt>
                <c:pt idx="486">
                  <c:v>0.15987692307599999</c:v>
                </c:pt>
                <c:pt idx="487">
                  <c:v>0.15986899023600001</c:v>
                </c:pt>
                <c:pt idx="488">
                  <c:v>0.15789151837500001</c:v>
                </c:pt>
                <c:pt idx="489">
                  <c:v>0.15336563722300001</c:v>
                </c:pt>
                <c:pt idx="490">
                  <c:v>0.15016951036500001</c:v>
                </c:pt>
                <c:pt idx="491">
                  <c:v>0.14438046491699999</c:v>
                </c:pt>
                <c:pt idx="492">
                  <c:v>0.13869262573899999</c:v>
                </c:pt>
                <c:pt idx="493">
                  <c:v>0.13400670033500001</c:v>
                </c:pt>
                <c:pt idx="494">
                  <c:v>0.134773512382</c:v>
                </c:pt>
                <c:pt idx="495">
                  <c:v>0.13518545739599999</c:v>
                </c:pt>
                <c:pt idx="496">
                  <c:v>0.128102768821</c:v>
                </c:pt>
                <c:pt idx="497">
                  <c:v>0.12009803921499999</c:v>
                </c:pt>
                <c:pt idx="498">
                  <c:v>0.11967938087299999</c:v>
                </c:pt>
                <c:pt idx="499">
                  <c:v>0.11945431617500001</c:v>
                </c:pt>
                <c:pt idx="500">
                  <c:v>0.120845566647</c:v>
                </c:pt>
                <c:pt idx="501">
                  <c:v>0.121989528795</c:v>
                </c:pt>
                <c:pt idx="502">
                  <c:v>0.12153406105800001</c:v>
                </c:pt>
                <c:pt idx="503">
                  <c:v>0.12805479770100001</c:v>
                </c:pt>
                <c:pt idx="504">
                  <c:v>0.139557882489</c:v>
                </c:pt>
                <c:pt idx="505">
                  <c:v>0.14843397926900001</c:v>
                </c:pt>
                <c:pt idx="506">
                  <c:v>0.15832845977900001</c:v>
                </c:pt>
                <c:pt idx="507">
                  <c:v>0.172345200448</c:v>
                </c:pt>
                <c:pt idx="508">
                  <c:v>0.180095971208</c:v>
                </c:pt>
                <c:pt idx="509">
                  <c:v>0.18578161822399999</c:v>
                </c:pt>
                <c:pt idx="510">
                  <c:v>0.19641001417000001</c:v>
                </c:pt>
                <c:pt idx="511">
                  <c:v>0.20642346273199999</c:v>
                </c:pt>
                <c:pt idx="512">
                  <c:v>0.23131841980000001</c:v>
                </c:pt>
                <c:pt idx="513">
                  <c:v>0.24129687106700001</c:v>
                </c:pt>
                <c:pt idx="514">
                  <c:v>0.25840651950299998</c:v>
                </c:pt>
                <c:pt idx="515">
                  <c:v>0.25747198007400002</c:v>
                </c:pt>
                <c:pt idx="516">
                  <c:v>0.26677439211999998</c:v>
                </c:pt>
                <c:pt idx="517">
                  <c:v>0.27257936357700002</c:v>
                </c:pt>
                <c:pt idx="518">
                  <c:v>0.29026994956899999</c:v>
                </c:pt>
                <c:pt idx="519">
                  <c:v>0.293758678652</c:v>
                </c:pt>
                <c:pt idx="520">
                  <c:v>0.30470537757400001</c:v>
                </c:pt>
                <c:pt idx="521">
                  <c:v>0.30203397244199998</c:v>
                </c:pt>
                <c:pt idx="522">
                  <c:v>0.31665878415199999</c:v>
                </c:pt>
                <c:pt idx="523">
                  <c:v>0.311194057159</c:v>
                </c:pt>
                <c:pt idx="524">
                  <c:v>0.31897521500800002</c:v>
                </c:pt>
                <c:pt idx="525">
                  <c:v>0.31619378917899998</c:v>
                </c:pt>
                <c:pt idx="526">
                  <c:v>0.31857693012999999</c:v>
                </c:pt>
                <c:pt idx="527">
                  <c:v>0.31881716389800002</c:v>
                </c:pt>
                <c:pt idx="528">
                  <c:v>0.324520693852</c:v>
                </c:pt>
                <c:pt idx="529">
                  <c:v>0.31687018744599998</c:v>
                </c:pt>
                <c:pt idx="530">
                  <c:v>0.316192261137</c:v>
                </c:pt>
                <c:pt idx="531">
                  <c:v>0.31666010240199999</c:v>
                </c:pt>
                <c:pt idx="532">
                  <c:v>0.317482066575</c:v>
                </c:pt>
                <c:pt idx="533">
                  <c:v>0.30950433502300001</c:v>
                </c:pt>
                <c:pt idx="534">
                  <c:v>0.30637889287800002</c:v>
                </c:pt>
                <c:pt idx="535">
                  <c:v>0.29796511627900002</c:v>
                </c:pt>
                <c:pt idx="536">
                  <c:v>0.29656598733200001</c:v>
                </c:pt>
                <c:pt idx="537">
                  <c:v>0.29446657429799999</c:v>
                </c:pt>
                <c:pt idx="538">
                  <c:v>0.294151656659</c:v>
                </c:pt>
                <c:pt idx="539">
                  <c:v>0.28762326052800002</c:v>
                </c:pt>
                <c:pt idx="540">
                  <c:v>0.28269800324799998</c:v>
                </c:pt>
                <c:pt idx="541">
                  <c:v>0.28038263283100001</c:v>
                </c:pt>
                <c:pt idx="542">
                  <c:v>0.28040678659000001</c:v>
                </c:pt>
                <c:pt idx="543">
                  <c:v>0.27773443594899999</c:v>
                </c:pt>
                <c:pt idx="544">
                  <c:v>0.27693279301000001</c:v>
                </c:pt>
                <c:pt idx="545">
                  <c:v>0.27061048082099998</c:v>
                </c:pt>
                <c:pt idx="546">
                  <c:v>0.27238116566800002</c:v>
                </c:pt>
                <c:pt idx="547">
                  <c:v>0.27472273567400002</c:v>
                </c:pt>
                <c:pt idx="548">
                  <c:v>0.27620859844200002</c:v>
                </c:pt>
                <c:pt idx="549">
                  <c:v>0.27856365614700002</c:v>
                </c:pt>
                <c:pt idx="550">
                  <c:v>0.28069639584599998</c:v>
                </c:pt>
                <c:pt idx="551">
                  <c:v>0.286002210518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POZ_indik_testu_65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53</c:f>
              <c:numCache>
                <c:formatCode>m/d/yyyy</c:formatCode>
                <c:ptCount val="55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</c:numCache>
            </c:numRef>
          </c:cat>
          <c:val>
            <c:numRef>
              <c:f>Sheet1!$B$2:$B$553</c:f>
              <c:numCache>
                <c:formatCode>0%</c:formatCode>
                <c:ptCount val="552"/>
                <c:pt idx="0">
                  <c:v>0.84424641625999997</c:v>
                </c:pt>
                <c:pt idx="1">
                  <c:v>2.2691135181000002</c:v>
                </c:pt>
                <c:pt idx="2">
                  <c:v>3.1955333584500001</c:v>
                </c:pt>
                <c:pt idx="3">
                  <c:v>4.9006189104900004</c:v>
                </c:pt>
                <c:pt idx="4">
                  <c:v>5.70534468442</c:v>
                </c:pt>
                <c:pt idx="5">
                  <c:v>5.9789925935300001</c:v>
                </c:pt>
                <c:pt idx="6">
                  <c:v>4.01503006004</c:v>
                </c:pt>
                <c:pt idx="7">
                  <c:v>2.1861696381</c:v>
                </c:pt>
                <c:pt idx="8">
                  <c:v>1.5140131752499999</c:v>
                </c:pt>
                <c:pt idx="9">
                  <c:v>1.01228143738</c:v>
                </c:pt>
                <c:pt idx="10">
                  <c:v>0.69499013266999998</c:v>
                </c:pt>
                <c:pt idx="11">
                  <c:v>0.87400950961000001</c:v>
                </c:pt>
                <c:pt idx="12">
                  <c:v>0.84412303932999999</c:v>
                </c:pt>
                <c:pt idx="13">
                  <c:v>0.60464842415999998</c:v>
                </c:pt>
                <c:pt idx="14">
                  <c:v>0.44945206617</c:v>
                </c:pt>
                <c:pt idx="15">
                  <c:v>0.46419377451999999</c:v>
                </c:pt>
                <c:pt idx="16">
                  <c:v>0.48696108879</c:v>
                </c:pt>
                <c:pt idx="17">
                  <c:v>0.27401659761000002</c:v>
                </c:pt>
                <c:pt idx="18">
                  <c:v>0.16745390512</c:v>
                </c:pt>
                <c:pt idx="19">
                  <c:v>0.18961749277000001</c:v>
                </c:pt>
                <c:pt idx="20">
                  <c:v>0.17313336333000001</c:v>
                </c:pt>
                <c:pt idx="21">
                  <c:v>0.15117073397</c:v>
                </c:pt>
                <c:pt idx="22">
                  <c:v>0.1075810029</c:v>
                </c:pt>
                <c:pt idx="23">
                  <c:v>0.11369896251</c:v>
                </c:pt>
                <c:pt idx="24">
                  <c:v>0.13472398154000001</c:v>
                </c:pt>
                <c:pt idx="25">
                  <c:v>0.2452715634</c:v>
                </c:pt>
                <c:pt idx="26">
                  <c:v>0.30678340825</c:v>
                </c:pt>
                <c:pt idx="27">
                  <c:v>0.31965377048999999</c:v>
                </c:pt>
                <c:pt idx="28">
                  <c:v>0.29664180956000002</c:v>
                </c:pt>
                <c:pt idx="29">
                  <c:v>0.28366832099</c:v>
                </c:pt>
                <c:pt idx="30">
                  <c:v>0.28376843390000001</c:v>
                </c:pt>
                <c:pt idx="31">
                  <c:v>0.29715366337999999</c:v>
                </c:pt>
                <c:pt idx="32">
                  <c:v>0.35312997347000002</c:v>
                </c:pt>
                <c:pt idx="33">
                  <c:v>0.3552829629</c:v>
                </c:pt>
                <c:pt idx="34">
                  <c:v>0.35123436646</c:v>
                </c:pt>
                <c:pt idx="35">
                  <c:v>0.37253375287000001</c:v>
                </c:pt>
                <c:pt idx="36">
                  <c:v>0.36982974617999997</c:v>
                </c:pt>
                <c:pt idx="37">
                  <c:v>0.37247638943</c:v>
                </c:pt>
                <c:pt idx="38">
                  <c:v>0.49431851363000001</c:v>
                </c:pt>
                <c:pt idx="39">
                  <c:v>0.49734355291999999</c:v>
                </c:pt>
                <c:pt idx="40">
                  <c:v>0.44204294544</c:v>
                </c:pt>
                <c:pt idx="41">
                  <c:v>0.42655319388000001</c:v>
                </c:pt>
                <c:pt idx="42">
                  <c:v>0.38860110436</c:v>
                </c:pt>
                <c:pt idx="43">
                  <c:v>0.31130487640999999</c:v>
                </c:pt>
                <c:pt idx="44">
                  <c:v>0.19712364064999999</c:v>
                </c:pt>
                <c:pt idx="45">
                  <c:v>0.10787173529000001</c:v>
                </c:pt>
                <c:pt idx="46">
                  <c:v>0.10764519597</c:v>
                </c:pt>
                <c:pt idx="47">
                  <c:v>0.12184545704999999</c:v>
                </c:pt>
                <c:pt idx="48">
                  <c:v>0.12482001198999999</c:v>
                </c:pt>
                <c:pt idx="49">
                  <c:v>0.11477338421</c:v>
                </c:pt>
                <c:pt idx="50">
                  <c:v>0.11367143389999999</c:v>
                </c:pt>
                <c:pt idx="51">
                  <c:v>0.10755580881</c:v>
                </c:pt>
                <c:pt idx="52">
                  <c:v>0.15823192575</c:v>
                </c:pt>
                <c:pt idx="53">
                  <c:v>0.15706588647</c:v>
                </c:pt>
                <c:pt idx="54">
                  <c:v>0.15972495648999999</c:v>
                </c:pt>
                <c:pt idx="55">
                  <c:v>0.13172032553999999</c:v>
                </c:pt>
                <c:pt idx="56">
                  <c:v>0.10640128711000001</c:v>
                </c:pt>
                <c:pt idx="57">
                  <c:v>9.5235066209999997E-2</c:v>
                </c:pt>
                <c:pt idx="58">
                  <c:v>6.5034053410000001E-2</c:v>
                </c:pt>
                <c:pt idx="59">
                  <c:v>4.5107816500000002E-3</c:v>
                </c:pt>
                <c:pt idx="60">
                  <c:v>-1.686012311E-2</c:v>
                </c:pt>
                <c:pt idx="61">
                  <c:v>-8.0263645600000006E-3</c:v>
                </c:pt>
                <c:pt idx="62">
                  <c:v>1.8332630100000001E-3</c:v>
                </c:pt>
                <c:pt idx="63">
                  <c:v>-3.4690678599999997E-2</c:v>
                </c:pt>
                <c:pt idx="64">
                  <c:v>-2.8945777159999998E-2</c:v>
                </c:pt>
                <c:pt idx="65">
                  <c:v>-3.2479896389999999E-2</c:v>
                </c:pt>
                <c:pt idx="66">
                  <c:v>-2.844795202E-2</c:v>
                </c:pt>
                <c:pt idx="67">
                  <c:v>-2.730891953E-2</c:v>
                </c:pt>
                <c:pt idx="68">
                  <c:v>-3.7213710830000003E-2</c:v>
                </c:pt>
                <c:pt idx="69">
                  <c:v>-7.3906283990000002E-2</c:v>
                </c:pt>
                <c:pt idx="70">
                  <c:v>-0.11406279734999999</c:v>
                </c:pt>
                <c:pt idx="71">
                  <c:v>-0.15372285079</c:v>
                </c:pt>
                <c:pt idx="72">
                  <c:v>-0.16707249443</c:v>
                </c:pt>
                <c:pt idx="73">
                  <c:v>-0.18789719021000001</c:v>
                </c:pt>
                <c:pt idx="74">
                  <c:v>-0.19446051324999999</c:v>
                </c:pt>
                <c:pt idx="75">
                  <c:v>-0.18140794689</c:v>
                </c:pt>
                <c:pt idx="76">
                  <c:v>-0.1626662203</c:v>
                </c:pt>
                <c:pt idx="77">
                  <c:v>-0.14906806281000001</c:v>
                </c:pt>
                <c:pt idx="78">
                  <c:v>-0.15778689527</c:v>
                </c:pt>
                <c:pt idx="79">
                  <c:v>-0.16364274044999999</c:v>
                </c:pt>
                <c:pt idx="80">
                  <c:v>-0.17386743936999999</c:v>
                </c:pt>
                <c:pt idx="81">
                  <c:v>-0.18083156248999999</c:v>
                </c:pt>
                <c:pt idx="82">
                  <c:v>-0.13927866515000001</c:v>
                </c:pt>
                <c:pt idx="83">
                  <c:v>-0.16836427905000001</c:v>
                </c:pt>
                <c:pt idx="84">
                  <c:v>-0.14783588705</c:v>
                </c:pt>
                <c:pt idx="85">
                  <c:v>-0.12213834192</c:v>
                </c:pt>
                <c:pt idx="86">
                  <c:v>-0.11038102733000001</c:v>
                </c:pt>
                <c:pt idx="87">
                  <c:v>-0.11101170401</c:v>
                </c:pt>
                <c:pt idx="88">
                  <c:v>-8.3885209190000004E-2</c:v>
                </c:pt>
                <c:pt idx="89">
                  <c:v>-5.0539356309999998E-2</c:v>
                </c:pt>
                <c:pt idx="90">
                  <c:v>-9.4978197200000003E-2</c:v>
                </c:pt>
                <c:pt idx="91">
                  <c:v>-9.5850606719999995E-2</c:v>
                </c:pt>
                <c:pt idx="92">
                  <c:v>-0.1154335757</c:v>
                </c:pt>
                <c:pt idx="93">
                  <c:v>-0.10381529816</c:v>
                </c:pt>
                <c:pt idx="94">
                  <c:v>-5.8546782909999998E-2</c:v>
                </c:pt>
                <c:pt idx="95">
                  <c:v>1.4790012E-4</c:v>
                </c:pt>
                <c:pt idx="96">
                  <c:v>4.6971444479999999E-2</c:v>
                </c:pt>
                <c:pt idx="97">
                  <c:v>6.2918176000000006E-2</c:v>
                </c:pt>
                <c:pt idx="98">
                  <c:v>0.11683637556</c:v>
                </c:pt>
                <c:pt idx="99">
                  <c:v>0.18146089301000001</c:v>
                </c:pt>
                <c:pt idx="100">
                  <c:v>0.22243590653</c:v>
                </c:pt>
                <c:pt idx="101">
                  <c:v>0.18129865889999999</c:v>
                </c:pt>
                <c:pt idx="102">
                  <c:v>0.17146228966999999</c:v>
                </c:pt>
                <c:pt idx="103">
                  <c:v>0.19399959026999999</c:v>
                </c:pt>
                <c:pt idx="104">
                  <c:v>0.10450043308</c:v>
                </c:pt>
                <c:pt idx="105">
                  <c:v>7.7170741010000002E-2</c:v>
                </c:pt>
                <c:pt idx="106">
                  <c:v>3.3367314129999999E-2</c:v>
                </c:pt>
                <c:pt idx="107">
                  <c:v>3.1720206379999998E-2</c:v>
                </c:pt>
                <c:pt idx="108">
                  <c:v>4.9169637049999999E-2</c:v>
                </c:pt>
                <c:pt idx="109">
                  <c:v>6.0333639260000002E-2</c:v>
                </c:pt>
                <c:pt idx="110">
                  <c:v>7.5386898640000005E-2</c:v>
                </c:pt>
                <c:pt idx="111">
                  <c:v>5.0988508959999998E-2</c:v>
                </c:pt>
                <c:pt idx="112">
                  <c:v>4.9886153949999998E-2</c:v>
                </c:pt>
                <c:pt idx="113">
                  <c:v>0.10528338525</c:v>
                </c:pt>
                <c:pt idx="114">
                  <c:v>0.10995282298</c:v>
                </c:pt>
                <c:pt idx="115">
                  <c:v>0.10102637149</c:v>
                </c:pt>
                <c:pt idx="116">
                  <c:v>0.11489008153999999</c:v>
                </c:pt>
                <c:pt idx="117">
                  <c:v>0.11115282302</c:v>
                </c:pt>
                <c:pt idx="118">
                  <c:v>0.11076727122</c:v>
                </c:pt>
                <c:pt idx="119">
                  <c:v>0.13799215126</c:v>
                </c:pt>
                <c:pt idx="120">
                  <c:v>0.15396428962</c:v>
                </c:pt>
                <c:pt idx="121">
                  <c:v>0.18206858939000001</c:v>
                </c:pt>
                <c:pt idx="122">
                  <c:v>0.20458709366</c:v>
                </c:pt>
                <c:pt idx="123">
                  <c:v>0.20714416093999999</c:v>
                </c:pt>
                <c:pt idx="124">
                  <c:v>0.22676657384999999</c:v>
                </c:pt>
                <c:pt idx="125">
                  <c:v>0.12954627156000001</c:v>
                </c:pt>
                <c:pt idx="126">
                  <c:v>7.0814513209999999E-2</c:v>
                </c:pt>
                <c:pt idx="127">
                  <c:v>5.5840752190000002E-2</c:v>
                </c:pt>
                <c:pt idx="128">
                  <c:v>3.6739447610000003E-2</c:v>
                </c:pt>
                <c:pt idx="129">
                  <c:v>2.2688319179999999E-2</c:v>
                </c:pt>
                <c:pt idx="130">
                  <c:v>3.3893557919999998E-2</c:v>
                </c:pt>
                <c:pt idx="131">
                  <c:v>3.7421654649999997E-2</c:v>
                </c:pt>
                <c:pt idx="132">
                  <c:v>-5.5021608699999999E-3</c:v>
                </c:pt>
                <c:pt idx="133">
                  <c:v>-4.9863975460000001E-2</c:v>
                </c:pt>
                <c:pt idx="134">
                  <c:v>-8.7385941920000001E-2</c:v>
                </c:pt>
                <c:pt idx="135">
                  <c:v>-0.12137009208000001</c:v>
                </c:pt>
                <c:pt idx="136">
                  <c:v>-0.14559878379999999</c:v>
                </c:pt>
                <c:pt idx="137">
                  <c:v>-0.18257460192</c:v>
                </c:pt>
                <c:pt idx="138">
                  <c:v>-0.15643136561000001</c:v>
                </c:pt>
                <c:pt idx="139">
                  <c:v>-0.16432342904</c:v>
                </c:pt>
                <c:pt idx="140">
                  <c:v>-0.15683089438</c:v>
                </c:pt>
                <c:pt idx="141">
                  <c:v>-0.13053336105999999</c:v>
                </c:pt>
                <c:pt idx="142">
                  <c:v>-8.8573779079999998E-2</c:v>
                </c:pt>
                <c:pt idx="143">
                  <c:v>-9.8669066030000002E-2</c:v>
                </c:pt>
                <c:pt idx="144">
                  <c:v>-7.055737258E-2</c:v>
                </c:pt>
                <c:pt idx="145">
                  <c:v>-5.5061811779999997E-2</c:v>
                </c:pt>
                <c:pt idx="146">
                  <c:v>-8.3001321239999995E-2</c:v>
                </c:pt>
                <c:pt idx="147">
                  <c:v>-8.4087220749999997E-2</c:v>
                </c:pt>
                <c:pt idx="148">
                  <c:v>-8.2390818840000005E-2</c:v>
                </c:pt>
                <c:pt idx="149">
                  <c:v>-9.6481319329999995E-2</c:v>
                </c:pt>
                <c:pt idx="150">
                  <c:v>-7.8007597710000001E-2</c:v>
                </c:pt>
                <c:pt idx="151">
                  <c:v>-6.0032596510000001E-2</c:v>
                </c:pt>
                <c:pt idx="152">
                  <c:v>-1.8575051790000002E-2</c:v>
                </c:pt>
                <c:pt idx="153">
                  <c:v>-3.2822194460000002E-2</c:v>
                </c:pt>
                <c:pt idx="154">
                  <c:v>-1.6364593850000001E-2</c:v>
                </c:pt>
                <c:pt idx="155">
                  <c:v>-6.9771003600000003E-3</c:v>
                </c:pt>
                <c:pt idx="156">
                  <c:v>-1.085762344E-2</c:v>
                </c:pt>
                <c:pt idx="157">
                  <c:v>6.5663639000000003E-3</c:v>
                </c:pt>
                <c:pt idx="158">
                  <c:v>2.603480788E-2</c:v>
                </c:pt>
                <c:pt idx="159">
                  <c:v>4.2728074009999999E-2</c:v>
                </c:pt>
                <c:pt idx="160">
                  <c:v>2.582357037E-2</c:v>
                </c:pt>
                <c:pt idx="161">
                  <c:v>2.914283678E-2</c:v>
                </c:pt>
                <c:pt idx="162">
                  <c:v>3.012578544E-2</c:v>
                </c:pt>
                <c:pt idx="163">
                  <c:v>5.4874805890000003E-2</c:v>
                </c:pt>
                <c:pt idx="164">
                  <c:v>3.3840547579999998E-2</c:v>
                </c:pt>
                <c:pt idx="165">
                  <c:v>2.4658143550000001E-2</c:v>
                </c:pt>
                <c:pt idx="166">
                  <c:v>5.0923065490000002E-2</c:v>
                </c:pt>
                <c:pt idx="167">
                  <c:v>2.7961613390000001E-2</c:v>
                </c:pt>
                <c:pt idx="168">
                  <c:v>5.6221944230000001E-2</c:v>
                </c:pt>
                <c:pt idx="169">
                  <c:v>3.393711974E-2</c:v>
                </c:pt>
                <c:pt idx="170">
                  <c:v>3.3963828350000003E-2</c:v>
                </c:pt>
                <c:pt idx="171">
                  <c:v>5.803370394E-2</c:v>
                </c:pt>
                <c:pt idx="172">
                  <c:v>9.1925723360000003E-2</c:v>
                </c:pt>
                <c:pt idx="173">
                  <c:v>0.11613381873</c:v>
                </c:pt>
                <c:pt idx="174">
                  <c:v>6.8846255310000007E-2</c:v>
                </c:pt>
                <c:pt idx="175">
                  <c:v>6.8512220730000004E-2</c:v>
                </c:pt>
                <c:pt idx="176">
                  <c:v>8.0818515339999994E-2</c:v>
                </c:pt>
                <c:pt idx="177">
                  <c:v>9.7266804770000007E-2</c:v>
                </c:pt>
                <c:pt idx="178">
                  <c:v>8.1168573009999995E-2</c:v>
                </c:pt>
                <c:pt idx="179">
                  <c:v>7.362539136E-2</c:v>
                </c:pt>
                <c:pt idx="180">
                  <c:v>9.1182946299999998E-2</c:v>
                </c:pt>
                <c:pt idx="181">
                  <c:v>5.3263342480000003E-2</c:v>
                </c:pt>
                <c:pt idx="182">
                  <c:v>5.0443007800000002E-2</c:v>
                </c:pt>
                <c:pt idx="183">
                  <c:v>2.3181437499999999E-2</c:v>
                </c:pt>
                <c:pt idx="184">
                  <c:v>1.4321845830000001E-2</c:v>
                </c:pt>
                <c:pt idx="185">
                  <c:v>-2.0241970889999999E-2</c:v>
                </c:pt>
                <c:pt idx="186">
                  <c:v>8.3101041799999997E-3</c:v>
                </c:pt>
                <c:pt idx="187">
                  <c:v>1.6635593069999999E-2</c:v>
                </c:pt>
                <c:pt idx="188">
                  <c:v>-2.1631052049999999E-2</c:v>
                </c:pt>
                <c:pt idx="189">
                  <c:v>-4.0739083330000002E-2</c:v>
                </c:pt>
                <c:pt idx="190">
                  <c:v>-5.7050736019999999E-2</c:v>
                </c:pt>
                <c:pt idx="191">
                  <c:v>-6.7637317089999996E-2</c:v>
                </c:pt>
                <c:pt idx="192">
                  <c:v>-4.4037310580000003E-2</c:v>
                </c:pt>
                <c:pt idx="193">
                  <c:v>-6.2536329840000002E-2</c:v>
                </c:pt>
                <c:pt idx="194">
                  <c:v>-4.541325635E-2</c:v>
                </c:pt>
                <c:pt idx="195">
                  <c:v>-5.5349874399999999E-2</c:v>
                </c:pt>
                <c:pt idx="196">
                  <c:v>-3.7397273170000002E-2</c:v>
                </c:pt>
                <c:pt idx="197">
                  <c:v>-2.5834694040000002E-2</c:v>
                </c:pt>
                <c:pt idx="198">
                  <c:v>-2.5621995420000002E-2</c:v>
                </c:pt>
                <c:pt idx="199">
                  <c:v>-0.10892997821</c:v>
                </c:pt>
                <c:pt idx="200">
                  <c:v>-8.6394862389999993E-2</c:v>
                </c:pt>
                <c:pt idx="201">
                  <c:v>-6.712976189E-2</c:v>
                </c:pt>
                <c:pt idx="202">
                  <c:v>-0.10642974392</c:v>
                </c:pt>
                <c:pt idx="203">
                  <c:v>-0.13136753306999999</c:v>
                </c:pt>
                <c:pt idx="204">
                  <c:v>-0.14066845678000001</c:v>
                </c:pt>
                <c:pt idx="205">
                  <c:v>-0.15418445140000001</c:v>
                </c:pt>
                <c:pt idx="206">
                  <c:v>-0.11737352584999999</c:v>
                </c:pt>
                <c:pt idx="207">
                  <c:v>-0.1041864639</c:v>
                </c:pt>
                <c:pt idx="208">
                  <c:v>-7.573875863E-2</c:v>
                </c:pt>
                <c:pt idx="209">
                  <c:v>-9.5988949759999997E-2</c:v>
                </c:pt>
                <c:pt idx="210">
                  <c:v>-9.3335947990000001E-2</c:v>
                </c:pt>
                <c:pt idx="211">
                  <c:v>-7.1459363540000001E-2</c:v>
                </c:pt>
                <c:pt idx="212">
                  <c:v>-6.8962251119999998E-2</c:v>
                </c:pt>
                <c:pt idx="213">
                  <c:v>-8.3882871740000003E-2</c:v>
                </c:pt>
                <c:pt idx="214">
                  <c:v>-8.3777834770000004E-2</c:v>
                </c:pt>
                <c:pt idx="215">
                  <c:v>-5.876129771E-2</c:v>
                </c:pt>
                <c:pt idx="216">
                  <c:v>-6.721311932E-2</c:v>
                </c:pt>
                <c:pt idx="217">
                  <c:v>-0.15182164189</c:v>
                </c:pt>
                <c:pt idx="218">
                  <c:v>-0.18108203208000001</c:v>
                </c:pt>
                <c:pt idx="219">
                  <c:v>-0.19846356009999999</c:v>
                </c:pt>
                <c:pt idx="220">
                  <c:v>-0.21407430897999999</c:v>
                </c:pt>
                <c:pt idx="221">
                  <c:v>-0.20272987137000001</c:v>
                </c:pt>
                <c:pt idx="222">
                  <c:v>-0.19751684715000001</c:v>
                </c:pt>
                <c:pt idx="223">
                  <c:v>-0.20455580063000001</c:v>
                </c:pt>
                <c:pt idx="224">
                  <c:v>-0.16753216256</c:v>
                </c:pt>
                <c:pt idx="225">
                  <c:v>-0.16719162227000001</c:v>
                </c:pt>
                <c:pt idx="226">
                  <c:v>-0.19351298702</c:v>
                </c:pt>
                <c:pt idx="227">
                  <c:v>-0.20494359792</c:v>
                </c:pt>
                <c:pt idx="228">
                  <c:v>-0.19942830614000001</c:v>
                </c:pt>
                <c:pt idx="229">
                  <c:v>-0.16511371250000001</c:v>
                </c:pt>
                <c:pt idx="230">
                  <c:v>-0.17414815342000001</c:v>
                </c:pt>
                <c:pt idx="231">
                  <c:v>-0.21607576888999999</c:v>
                </c:pt>
                <c:pt idx="232">
                  <c:v>-0.19018716869999999</c:v>
                </c:pt>
                <c:pt idx="233">
                  <c:v>-0.16632248725000001</c:v>
                </c:pt>
                <c:pt idx="234">
                  <c:v>-0.18949227881</c:v>
                </c:pt>
                <c:pt idx="235">
                  <c:v>-0.18993034665</c:v>
                </c:pt>
                <c:pt idx="236">
                  <c:v>-0.14533343805999999</c:v>
                </c:pt>
                <c:pt idx="237">
                  <c:v>-0.17288242002000001</c:v>
                </c:pt>
                <c:pt idx="238">
                  <c:v>-0.1577475897</c:v>
                </c:pt>
                <c:pt idx="239">
                  <c:v>-0.15916379975</c:v>
                </c:pt>
                <c:pt idx="240">
                  <c:v>-0.17599432841000001</c:v>
                </c:pt>
                <c:pt idx="241">
                  <c:v>-0.16339071330999999</c:v>
                </c:pt>
                <c:pt idx="242">
                  <c:v>-0.11737343852</c:v>
                </c:pt>
                <c:pt idx="243">
                  <c:v>-0.11237769449</c:v>
                </c:pt>
                <c:pt idx="244">
                  <c:v>-0.17558662587000001</c:v>
                </c:pt>
                <c:pt idx="245">
                  <c:v>-0.19169498432000001</c:v>
                </c:pt>
                <c:pt idx="246">
                  <c:v>-0.20908001711999999</c:v>
                </c:pt>
                <c:pt idx="247">
                  <c:v>-0.21547975454000001</c:v>
                </c:pt>
                <c:pt idx="248">
                  <c:v>-0.25994682302</c:v>
                </c:pt>
                <c:pt idx="249">
                  <c:v>-0.28755679315999999</c:v>
                </c:pt>
                <c:pt idx="250">
                  <c:v>-0.23967639135999999</c:v>
                </c:pt>
                <c:pt idx="251">
                  <c:v>-0.25090847149000001</c:v>
                </c:pt>
                <c:pt idx="252">
                  <c:v>-0.25928933435000001</c:v>
                </c:pt>
                <c:pt idx="253">
                  <c:v>-0.29401588082000002</c:v>
                </c:pt>
                <c:pt idx="254">
                  <c:v>-0.30635718852999999</c:v>
                </c:pt>
                <c:pt idx="255">
                  <c:v>-0.31147084991000001</c:v>
                </c:pt>
                <c:pt idx="256">
                  <c:v>-0.26949242736000001</c:v>
                </c:pt>
                <c:pt idx="257">
                  <c:v>-0.2457435983</c:v>
                </c:pt>
                <c:pt idx="258">
                  <c:v>-0.31732466100000001</c:v>
                </c:pt>
                <c:pt idx="259">
                  <c:v>-0.29468798056000001</c:v>
                </c:pt>
                <c:pt idx="260">
                  <c:v>-0.29022495442000001</c:v>
                </c:pt>
                <c:pt idx="261">
                  <c:v>-0.30607427136999998</c:v>
                </c:pt>
                <c:pt idx="262">
                  <c:v>-0.35584140377000001</c:v>
                </c:pt>
                <c:pt idx="263">
                  <c:v>-0.36818789224999998</c:v>
                </c:pt>
                <c:pt idx="264">
                  <c:v>-0.32308876054000002</c:v>
                </c:pt>
                <c:pt idx="265">
                  <c:v>-0.31053318857000001</c:v>
                </c:pt>
                <c:pt idx="266">
                  <c:v>-0.30733420059</c:v>
                </c:pt>
                <c:pt idx="267">
                  <c:v>-0.29110344247999997</c:v>
                </c:pt>
                <c:pt idx="268">
                  <c:v>-0.28241244648000002</c:v>
                </c:pt>
                <c:pt idx="269">
                  <c:v>-0.21772737871</c:v>
                </c:pt>
                <c:pt idx="270">
                  <c:v>-0.15806157767000001</c:v>
                </c:pt>
                <c:pt idx="271">
                  <c:v>-0.12722501404</c:v>
                </c:pt>
                <c:pt idx="272">
                  <c:v>-0.18062735316</c:v>
                </c:pt>
                <c:pt idx="273">
                  <c:v>-0.16139670355999999</c:v>
                </c:pt>
                <c:pt idx="274">
                  <c:v>-0.19966409133999999</c:v>
                </c:pt>
                <c:pt idx="275">
                  <c:v>-0.19731975475999999</c:v>
                </c:pt>
                <c:pt idx="276">
                  <c:v>-0.24680026569999999</c:v>
                </c:pt>
                <c:pt idx="277">
                  <c:v>-0.26424110148000002</c:v>
                </c:pt>
                <c:pt idx="278">
                  <c:v>-0.26485510215000002</c:v>
                </c:pt>
                <c:pt idx="279">
                  <c:v>-0.28900727132999998</c:v>
                </c:pt>
                <c:pt idx="280">
                  <c:v>-0.33787046740999999</c:v>
                </c:pt>
                <c:pt idx="281">
                  <c:v>-0.36905083829000002</c:v>
                </c:pt>
                <c:pt idx="282">
                  <c:v>-0.38815346543000001</c:v>
                </c:pt>
                <c:pt idx="283">
                  <c:v>-0.46091362552999998</c:v>
                </c:pt>
                <c:pt idx="284">
                  <c:v>-0.46248032339</c:v>
                </c:pt>
                <c:pt idx="285">
                  <c:v>-0.39573454175</c:v>
                </c:pt>
                <c:pt idx="286">
                  <c:v>-0.42672359548</c:v>
                </c:pt>
                <c:pt idx="287">
                  <c:v>-0.35414718164999998</c:v>
                </c:pt>
                <c:pt idx="288">
                  <c:v>-0.25026737971000002</c:v>
                </c:pt>
                <c:pt idx="289">
                  <c:v>-0.28300725291000001</c:v>
                </c:pt>
                <c:pt idx="290">
                  <c:v>-0.12337589996999999</c:v>
                </c:pt>
                <c:pt idx="291">
                  <c:v>-8.039662451E-2</c:v>
                </c:pt>
                <c:pt idx="292">
                  <c:v>-0.10565262069</c:v>
                </c:pt>
                <c:pt idx="293">
                  <c:v>-8.2731531610000006E-2</c:v>
                </c:pt>
                <c:pt idx="294">
                  <c:v>-0.23504369590999999</c:v>
                </c:pt>
                <c:pt idx="295">
                  <c:v>-0.36744380561000001</c:v>
                </c:pt>
                <c:pt idx="296">
                  <c:v>-0.30095574302</c:v>
                </c:pt>
                <c:pt idx="297">
                  <c:v>-0.38411861018999999</c:v>
                </c:pt>
                <c:pt idx="298">
                  <c:v>-0.45297248426999998</c:v>
                </c:pt>
                <c:pt idx="299">
                  <c:v>-0.47840593147999999</c:v>
                </c:pt>
                <c:pt idx="300">
                  <c:v>-0.51294128939000005</c:v>
                </c:pt>
                <c:pt idx="301">
                  <c:v>-0.6086480111</c:v>
                </c:pt>
                <c:pt idx="302">
                  <c:v>-0.61455162022999998</c:v>
                </c:pt>
                <c:pt idx="303">
                  <c:v>-0.42934587281999997</c:v>
                </c:pt>
                <c:pt idx="304">
                  <c:v>-0.46470696165000003</c:v>
                </c:pt>
                <c:pt idx="305">
                  <c:v>-0.22090282822999999</c:v>
                </c:pt>
                <c:pt idx="306">
                  <c:v>-0.10233412568</c:v>
                </c:pt>
                <c:pt idx="307">
                  <c:v>8.3236456690000002E-2</c:v>
                </c:pt>
                <c:pt idx="308">
                  <c:v>0.51709558842000003</c:v>
                </c:pt>
                <c:pt idx="309">
                  <c:v>1.29527634</c:v>
                </c:pt>
                <c:pt idx="310">
                  <c:v>0.94400735354999998</c:v>
                </c:pt>
                <c:pt idx="311">
                  <c:v>0.67796659024000006</c:v>
                </c:pt>
                <c:pt idx="312">
                  <c:v>0.56873930414999996</c:v>
                </c:pt>
                <c:pt idx="313">
                  <c:v>0.68822279905999995</c:v>
                </c:pt>
                <c:pt idx="314">
                  <c:v>1.57751937998</c:v>
                </c:pt>
                <c:pt idx="315">
                  <c:v>0.84541917226999996</c:v>
                </c:pt>
                <c:pt idx="316">
                  <c:v>0.64298284207</c:v>
                </c:pt>
                <c:pt idx="317">
                  <c:v>0.71687840289000004</c:v>
                </c:pt>
                <c:pt idx="318">
                  <c:v>0.54497924574000001</c:v>
                </c:pt>
                <c:pt idx="319">
                  <c:v>0.80914117508000005</c:v>
                </c:pt>
                <c:pt idx="320">
                  <c:v>0.29398406203999999</c:v>
                </c:pt>
                <c:pt idx="321">
                  <c:v>-3.4729284700000002E-2</c:v>
                </c:pt>
                <c:pt idx="322">
                  <c:v>-0.12897845858000001</c:v>
                </c:pt>
                <c:pt idx="323">
                  <c:v>1.4788431600000001E-3</c:v>
                </c:pt>
                <c:pt idx="324">
                  <c:v>-7.9403662309999998E-2</c:v>
                </c:pt>
                <c:pt idx="325">
                  <c:v>-0.14049642413999999</c:v>
                </c:pt>
                <c:pt idx="326">
                  <c:v>-0.19315998643999999</c:v>
                </c:pt>
                <c:pt idx="327">
                  <c:v>-0.22500887782000001</c:v>
                </c:pt>
                <c:pt idx="328">
                  <c:v>0.14368643787999999</c:v>
                </c:pt>
                <c:pt idx="329">
                  <c:v>0.17379613781</c:v>
                </c:pt>
                <c:pt idx="330">
                  <c:v>0.18204365078000001</c:v>
                </c:pt>
                <c:pt idx="331">
                  <c:v>0.20030310686</c:v>
                </c:pt>
                <c:pt idx="332">
                  <c:v>0.13437420012000001</c:v>
                </c:pt>
                <c:pt idx="333">
                  <c:v>0.18885127758</c:v>
                </c:pt>
                <c:pt idx="334">
                  <c:v>8.9652886439999996E-2</c:v>
                </c:pt>
                <c:pt idx="335">
                  <c:v>3.5768853650000001E-2</c:v>
                </c:pt>
                <c:pt idx="336">
                  <c:v>4.6421729629999998E-2</c:v>
                </c:pt>
                <c:pt idx="337">
                  <c:v>1.8837004960000001E-2</c:v>
                </c:pt>
                <c:pt idx="338">
                  <c:v>-5.378756774E-2</c:v>
                </c:pt>
                <c:pt idx="339">
                  <c:v>0.11189752437</c:v>
                </c:pt>
                <c:pt idx="340">
                  <c:v>0.14395144301000001</c:v>
                </c:pt>
                <c:pt idx="341">
                  <c:v>-2.4899191200000001E-3</c:v>
                </c:pt>
                <c:pt idx="342">
                  <c:v>9.1451754630000007E-2</c:v>
                </c:pt>
                <c:pt idx="343">
                  <c:v>-6.7001671000000004E-4</c:v>
                </c:pt>
                <c:pt idx="344">
                  <c:v>9.2720730690000003E-2</c:v>
                </c:pt>
                <c:pt idx="345">
                  <c:v>3.9985558240000003E-2</c:v>
                </c:pt>
                <c:pt idx="346">
                  <c:v>-6.1882026780000002E-2</c:v>
                </c:pt>
                <c:pt idx="347">
                  <c:v>-8.6330664880000005E-2</c:v>
                </c:pt>
                <c:pt idx="348">
                  <c:v>-7.0126182960000005E-2</c:v>
                </c:pt>
                <c:pt idx="349">
                  <c:v>7.2410009250000004E-2</c:v>
                </c:pt>
                <c:pt idx="350">
                  <c:v>3.4058066140000003E-2</c:v>
                </c:pt>
                <c:pt idx="351">
                  <c:v>1.1337449960000001E-2</c:v>
                </c:pt>
                <c:pt idx="352">
                  <c:v>-4.6343423529999997E-2</c:v>
                </c:pt>
                <c:pt idx="353">
                  <c:v>4.9506191550000002E-2</c:v>
                </c:pt>
                <c:pt idx="354">
                  <c:v>9.3344155900000003E-2</c:v>
                </c:pt>
                <c:pt idx="355">
                  <c:v>-5.7765266750000002E-2</c:v>
                </c:pt>
                <c:pt idx="356">
                  <c:v>-0.18003144656</c:v>
                </c:pt>
                <c:pt idx="357">
                  <c:v>-7.2639261489999996E-2</c:v>
                </c:pt>
                <c:pt idx="358">
                  <c:v>0.15343363196000001</c:v>
                </c:pt>
                <c:pt idx="359">
                  <c:v>0.24825394040000001</c:v>
                </c:pt>
                <c:pt idx="360">
                  <c:v>0.18181818181000001</c:v>
                </c:pt>
                <c:pt idx="361">
                  <c:v>0.14859437753999999</c:v>
                </c:pt>
                <c:pt idx="362">
                  <c:v>0.25825739393000002</c:v>
                </c:pt>
                <c:pt idx="363">
                  <c:v>0.19058974116999999</c:v>
                </c:pt>
                <c:pt idx="364">
                  <c:v>-4.0328019149999998E-2</c:v>
                </c:pt>
                <c:pt idx="365">
                  <c:v>0.13997634004000001</c:v>
                </c:pt>
                <c:pt idx="366">
                  <c:v>0.21617363903</c:v>
                </c:pt>
                <c:pt idx="367">
                  <c:v>0.46232660385000002</c:v>
                </c:pt>
                <c:pt idx="368">
                  <c:v>0.65127863606000003</c:v>
                </c:pt>
                <c:pt idx="369">
                  <c:v>0.82932084350000002</c:v>
                </c:pt>
                <c:pt idx="370">
                  <c:v>0.91359501433000001</c:v>
                </c:pt>
                <c:pt idx="371">
                  <c:v>1.04968684178</c:v>
                </c:pt>
                <c:pt idx="372">
                  <c:v>0.86285881372999995</c:v>
                </c:pt>
                <c:pt idx="373">
                  <c:v>0.52677256883000001</c:v>
                </c:pt>
                <c:pt idx="374">
                  <c:v>0.29867933779</c:v>
                </c:pt>
                <c:pt idx="375">
                  <c:v>0.23377263210999999</c:v>
                </c:pt>
                <c:pt idx="376">
                  <c:v>0.12831349636</c:v>
                </c:pt>
                <c:pt idx="377">
                  <c:v>-0.11907219494</c:v>
                </c:pt>
                <c:pt idx="378">
                  <c:v>-0.17708290474999999</c:v>
                </c:pt>
                <c:pt idx="379">
                  <c:v>-0.13063431352999999</c:v>
                </c:pt>
                <c:pt idx="380">
                  <c:v>-0.10180148885</c:v>
                </c:pt>
                <c:pt idx="381">
                  <c:v>8.3794242970000002E-2</c:v>
                </c:pt>
                <c:pt idx="382">
                  <c:v>0.13218928688000001</c:v>
                </c:pt>
                <c:pt idx="383">
                  <c:v>0.23903818953</c:v>
                </c:pt>
                <c:pt idx="384">
                  <c:v>0.24132289010999999</c:v>
                </c:pt>
                <c:pt idx="385">
                  <c:v>0.28018551751999998</c:v>
                </c:pt>
                <c:pt idx="386">
                  <c:v>0.27559635962000001</c:v>
                </c:pt>
                <c:pt idx="387">
                  <c:v>3.4268309419999997E-2</c:v>
                </c:pt>
                <c:pt idx="388">
                  <c:v>-7.9868329840000002E-2</c:v>
                </c:pt>
                <c:pt idx="389">
                  <c:v>-7.0100098070000005E-2</c:v>
                </c:pt>
                <c:pt idx="390">
                  <c:v>-2.280320165E-2</c:v>
                </c:pt>
                <c:pt idx="391">
                  <c:v>-2.5551016629999999E-2</c:v>
                </c:pt>
                <c:pt idx="392">
                  <c:v>6.4014827479999994E-2</c:v>
                </c:pt>
                <c:pt idx="393">
                  <c:v>5.7451090660000002E-2</c:v>
                </c:pt>
                <c:pt idx="394">
                  <c:v>0.26098197342000001</c:v>
                </c:pt>
                <c:pt idx="395">
                  <c:v>0.50583460174999995</c:v>
                </c:pt>
                <c:pt idx="396">
                  <c:v>0.46793290518000002</c:v>
                </c:pt>
                <c:pt idx="397">
                  <c:v>0.47984992553</c:v>
                </c:pt>
                <c:pt idx="398">
                  <c:v>0.42374119531999999</c:v>
                </c:pt>
                <c:pt idx="399">
                  <c:v>0.55647039255999997</c:v>
                </c:pt>
                <c:pt idx="400">
                  <c:v>0.61443830064000005</c:v>
                </c:pt>
                <c:pt idx="401">
                  <c:v>0.46354626115999997</c:v>
                </c:pt>
                <c:pt idx="402">
                  <c:v>0.41176897538000001</c:v>
                </c:pt>
                <c:pt idx="403">
                  <c:v>0.37992907765</c:v>
                </c:pt>
                <c:pt idx="404">
                  <c:v>0.42996575668999998</c:v>
                </c:pt>
                <c:pt idx="405">
                  <c:v>0.32298015662000001</c:v>
                </c:pt>
                <c:pt idx="406">
                  <c:v>0.21929690700999999</c:v>
                </c:pt>
                <c:pt idx="407">
                  <c:v>0.10116322224</c:v>
                </c:pt>
                <c:pt idx="408">
                  <c:v>7.8477653389999999E-2</c:v>
                </c:pt>
                <c:pt idx="409">
                  <c:v>0.11642801575</c:v>
                </c:pt>
                <c:pt idx="410">
                  <c:v>0.2038868932</c:v>
                </c:pt>
                <c:pt idx="411">
                  <c:v>0.23430466615000001</c:v>
                </c:pt>
                <c:pt idx="412">
                  <c:v>0.23476007522</c:v>
                </c:pt>
                <c:pt idx="413">
                  <c:v>0.40791516257999999</c:v>
                </c:pt>
                <c:pt idx="414">
                  <c:v>0.5374140879</c:v>
                </c:pt>
                <c:pt idx="415">
                  <c:v>0.53324605215999998</c:v>
                </c:pt>
                <c:pt idx="416">
                  <c:v>0.57962018720999997</c:v>
                </c:pt>
                <c:pt idx="417">
                  <c:v>0.59630956368999999</c:v>
                </c:pt>
                <c:pt idx="418">
                  <c:v>0.55416456017000004</c:v>
                </c:pt>
                <c:pt idx="419">
                  <c:v>0.43425280359000001</c:v>
                </c:pt>
                <c:pt idx="420">
                  <c:v>0.43085760269000001</c:v>
                </c:pt>
                <c:pt idx="421">
                  <c:v>0.39844801388000001</c:v>
                </c:pt>
                <c:pt idx="422">
                  <c:v>0.36197274144000002</c:v>
                </c:pt>
                <c:pt idx="423">
                  <c:v>0.34530052108999998</c:v>
                </c:pt>
                <c:pt idx="424">
                  <c:v>0.37996078576999998</c:v>
                </c:pt>
                <c:pt idx="425">
                  <c:v>0.3537743599</c:v>
                </c:pt>
                <c:pt idx="426">
                  <c:v>0.34194809474999999</c:v>
                </c:pt>
                <c:pt idx="427">
                  <c:v>0.39485249088000002</c:v>
                </c:pt>
                <c:pt idx="428">
                  <c:v>0.44004265778000001</c:v>
                </c:pt>
                <c:pt idx="429">
                  <c:v>0.40421736186000001</c:v>
                </c:pt>
                <c:pt idx="430">
                  <c:v>0.42568272527000001</c:v>
                </c:pt>
                <c:pt idx="431">
                  <c:v>0.44707140649999999</c:v>
                </c:pt>
                <c:pt idx="432">
                  <c:v>0.40066460871999998</c:v>
                </c:pt>
                <c:pt idx="433">
                  <c:v>0.3126749097</c:v>
                </c:pt>
                <c:pt idx="434">
                  <c:v>0.25794648400999998</c:v>
                </c:pt>
                <c:pt idx="435">
                  <c:v>0.17338907734</c:v>
                </c:pt>
                <c:pt idx="436">
                  <c:v>0.13231207417999999</c:v>
                </c:pt>
                <c:pt idx="437">
                  <c:v>9.0398863290000006E-2</c:v>
                </c:pt>
                <c:pt idx="438">
                  <c:v>8.7541560239999996E-2</c:v>
                </c:pt>
                <c:pt idx="439">
                  <c:v>8.0793976710000007E-2</c:v>
                </c:pt>
                <c:pt idx="440">
                  <c:v>3.347784878E-2</c:v>
                </c:pt>
                <c:pt idx="441">
                  <c:v>2.469639249E-2</c:v>
                </c:pt>
                <c:pt idx="442">
                  <c:v>5.2723285549999999E-2</c:v>
                </c:pt>
                <c:pt idx="443">
                  <c:v>3.2105025240000001E-2</c:v>
                </c:pt>
                <c:pt idx="444">
                  <c:v>6.1608623539999997E-2</c:v>
                </c:pt>
                <c:pt idx="445">
                  <c:v>9.7049610150000007E-2</c:v>
                </c:pt>
                <c:pt idx="446">
                  <c:v>0.11043907561999999</c:v>
                </c:pt>
                <c:pt idx="447">
                  <c:v>9.4393186000000004E-2</c:v>
                </c:pt>
                <c:pt idx="448">
                  <c:v>9.0150851800000001E-2</c:v>
                </c:pt>
                <c:pt idx="449">
                  <c:v>3.3943574880000001E-2</c:v>
                </c:pt>
                <c:pt idx="450">
                  <c:v>4.1361062759999997E-2</c:v>
                </c:pt>
                <c:pt idx="451">
                  <c:v>1.218194991E-2</c:v>
                </c:pt>
                <c:pt idx="452">
                  <c:v>4.6514120399999996E-3</c:v>
                </c:pt>
                <c:pt idx="453">
                  <c:v>2.879563123E-2</c:v>
                </c:pt>
                <c:pt idx="454">
                  <c:v>-6.7228912000000002E-4</c:v>
                </c:pt>
                <c:pt idx="455">
                  <c:v>2.9007254390000001E-2</c:v>
                </c:pt>
                <c:pt idx="456">
                  <c:v>5.416922196E-2</c:v>
                </c:pt>
                <c:pt idx="457">
                  <c:v>1.1944359769999999E-2</c:v>
                </c:pt>
                <c:pt idx="458">
                  <c:v>4.76023257E-3</c:v>
                </c:pt>
                <c:pt idx="459">
                  <c:v>9.8416123000000001E-3</c:v>
                </c:pt>
                <c:pt idx="460">
                  <c:v>-5.8121039999999997E-5</c:v>
                </c:pt>
                <c:pt idx="461">
                  <c:v>-2.4965014819999999E-2</c:v>
                </c:pt>
                <c:pt idx="462">
                  <c:v>-2.794495264E-2</c:v>
                </c:pt>
                <c:pt idx="463">
                  <c:v>-8.3342801709999997E-2</c:v>
                </c:pt>
                <c:pt idx="464">
                  <c:v>-8.5795122180000002E-2</c:v>
                </c:pt>
                <c:pt idx="465">
                  <c:v>-9.3433737909999995E-2</c:v>
                </c:pt>
                <c:pt idx="466">
                  <c:v>-8.7985069240000005E-2</c:v>
                </c:pt>
                <c:pt idx="467">
                  <c:v>-6.6837605410000001E-2</c:v>
                </c:pt>
                <c:pt idx="468">
                  <c:v>-9.8277987270000006E-2</c:v>
                </c:pt>
                <c:pt idx="469">
                  <c:v>-9.513089089E-2</c:v>
                </c:pt>
                <c:pt idx="470">
                  <c:v>-0.11736736709999999</c:v>
                </c:pt>
                <c:pt idx="471">
                  <c:v>-0.13270665208999999</c:v>
                </c:pt>
                <c:pt idx="472">
                  <c:v>-0.14854879017</c:v>
                </c:pt>
                <c:pt idx="473">
                  <c:v>-0.14490177268000001</c:v>
                </c:pt>
                <c:pt idx="474">
                  <c:v>-0.13382220747000001</c:v>
                </c:pt>
                <c:pt idx="475">
                  <c:v>-0.15730235166000001</c:v>
                </c:pt>
                <c:pt idx="476">
                  <c:v>-0.16433900895</c:v>
                </c:pt>
                <c:pt idx="477">
                  <c:v>-0.17584680584000001</c:v>
                </c:pt>
                <c:pt idx="478">
                  <c:v>-0.16740050551999999</c:v>
                </c:pt>
                <c:pt idx="479">
                  <c:v>-0.16313853001</c:v>
                </c:pt>
                <c:pt idx="480">
                  <c:v>-0.16662423589</c:v>
                </c:pt>
                <c:pt idx="481">
                  <c:v>-0.15158286272999999</c:v>
                </c:pt>
                <c:pt idx="482">
                  <c:v>-0.16885344877</c:v>
                </c:pt>
                <c:pt idx="483">
                  <c:v>-0.15925504179</c:v>
                </c:pt>
                <c:pt idx="484">
                  <c:v>-0.15218162428000001</c:v>
                </c:pt>
                <c:pt idx="485">
                  <c:v>-0.12931562368999999</c:v>
                </c:pt>
                <c:pt idx="486">
                  <c:v>-9.1976605049999993E-2</c:v>
                </c:pt>
                <c:pt idx="487">
                  <c:v>-6.5079355699999994E-2</c:v>
                </c:pt>
                <c:pt idx="488">
                  <c:v>-5.9391898649999997E-2</c:v>
                </c:pt>
                <c:pt idx="489">
                  <c:v>-0.10270144204999999</c:v>
                </c:pt>
                <c:pt idx="490">
                  <c:v>-7.2992061009999998E-2</c:v>
                </c:pt>
                <c:pt idx="491">
                  <c:v>-9.9168115170000001E-2</c:v>
                </c:pt>
                <c:pt idx="492">
                  <c:v>-0.12650860553000001</c:v>
                </c:pt>
                <c:pt idx="493">
                  <c:v>-0.15482608448999999</c:v>
                </c:pt>
                <c:pt idx="494">
                  <c:v>-0.13604180918</c:v>
                </c:pt>
                <c:pt idx="495">
                  <c:v>-0.11614480994</c:v>
                </c:pt>
                <c:pt idx="496">
                  <c:v>-0.17076890620999999</c:v>
                </c:pt>
                <c:pt idx="497">
                  <c:v>-0.17966610147000001</c:v>
                </c:pt>
                <c:pt idx="498">
                  <c:v>-0.15850796441000001</c:v>
                </c:pt>
                <c:pt idx="499">
                  <c:v>-0.12743155778000001</c:v>
                </c:pt>
                <c:pt idx="500">
                  <c:v>-0.10260821735</c:v>
                </c:pt>
                <c:pt idx="501">
                  <c:v>-8.6154539909999994E-2</c:v>
                </c:pt>
                <c:pt idx="502">
                  <c:v>-5.8250127249999999E-2</c:v>
                </c:pt>
                <c:pt idx="503">
                  <c:v>7.4789398800000004E-3</c:v>
                </c:pt>
                <c:pt idx="504">
                  <c:v>0.15380278343000001</c:v>
                </c:pt>
                <c:pt idx="505">
                  <c:v>0.22764405891</c:v>
                </c:pt>
                <c:pt idx="506">
                  <c:v>0.30247563139</c:v>
                </c:pt>
                <c:pt idx="507">
                  <c:v>0.39409453899000002</c:v>
                </c:pt>
                <c:pt idx="508">
                  <c:v>0.49071721969999998</c:v>
                </c:pt>
                <c:pt idx="509">
                  <c:v>0.52140683284</c:v>
                </c:pt>
                <c:pt idx="510">
                  <c:v>0.43800439200000002</c:v>
                </c:pt>
                <c:pt idx="511">
                  <c:v>0.42006410798999999</c:v>
                </c:pt>
                <c:pt idx="512">
                  <c:v>0.49170904516000002</c:v>
                </c:pt>
                <c:pt idx="513">
                  <c:v>0.43601695355999998</c:v>
                </c:pt>
                <c:pt idx="514">
                  <c:v>0.44917715626999999</c:v>
                </c:pt>
                <c:pt idx="515">
                  <c:v>0.41728727745999999</c:v>
                </c:pt>
                <c:pt idx="516">
                  <c:v>0.42984318919999998</c:v>
                </c:pt>
                <c:pt idx="517">
                  <c:v>0.34166232831999999</c:v>
                </c:pt>
                <c:pt idx="518">
                  <c:v>0.29645451920999999</c:v>
                </c:pt>
                <c:pt idx="519">
                  <c:v>0.25239025065999998</c:v>
                </c:pt>
                <c:pt idx="520">
                  <c:v>0.19946119879999999</c:v>
                </c:pt>
                <c:pt idx="521">
                  <c:v>0.17885033428</c:v>
                </c:pt>
                <c:pt idx="522">
                  <c:v>0.20151419844999999</c:v>
                </c:pt>
                <c:pt idx="523">
                  <c:v>0.19071301909999999</c:v>
                </c:pt>
                <c:pt idx="524">
                  <c:v>0.12822714937999999</c:v>
                </c:pt>
                <c:pt idx="525">
                  <c:v>6.6573665749999997E-2</c:v>
                </c:pt>
                <c:pt idx="526">
                  <c:v>6.9740803340000004E-2</c:v>
                </c:pt>
                <c:pt idx="527">
                  <c:v>4.7908513149999998E-2</c:v>
                </c:pt>
                <c:pt idx="528">
                  <c:v>4.6629247620000001E-2</c:v>
                </c:pt>
                <c:pt idx="529">
                  <c:v>9.8519641600000006E-3</c:v>
                </c:pt>
                <c:pt idx="530">
                  <c:v>3.223605266E-2</c:v>
                </c:pt>
                <c:pt idx="531">
                  <c:v>-8.5835375500000009E-3</c:v>
                </c:pt>
                <c:pt idx="532">
                  <c:v>-9.4782404099999999E-3</c:v>
                </c:pt>
                <c:pt idx="533">
                  <c:v>-3.0100504529999999E-2</c:v>
                </c:pt>
                <c:pt idx="534">
                  <c:v>-4.6263609169999997E-2</c:v>
                </c:pt>
                <c:pt idx="535">
                  <c:v>-8.0720862569999996E-2</c:v>
                </c:pt>
                <c:pt idx="536">
                  <c:v>-5.1763765779999998E-2</c:v>
                </c:pt>
                <c:pt idx="537">
                  <c:v>-5.066182751E-2</c:v>
                </c:pt>
                <c:pt idx="538">
                  <c:v>-7.3213994039999994E-2</c:v>
                </c:pt>
                <c:pt idx="539">
                  <c:v>-8.5486902909999996E-2</c:v>
                </c:pt>
                <c:pt idx="540">
                  <c:v>-8.0070495340000006E-2</c:v>
                </c:pt>
                <c:pt idx="541">
                  <c:v>-7.0855919219999994E-2</c:v>
                </c:pt>
                <c:pt idx="542">
                  <c:v>-5.2493400349999997E-2</c:v>
                </c:pt>
                <c:pt idx="543">
                  <c:v>-4.4653934210000003E-2</c:v>
                </c:pt>
                <c:pt idx="544">
                  <c:v>-4.6620804490000001E-2</c:v>
                </c:pt>
                <c:pt idx="545">
                  <c:v>-7.7235505699999998E-2</c:v>
                </c:pt>
                <c:pt idx="546">
                  <c:v>-4.5827120370000002E-2</c:v>
                </c:pt>
                <c:pt idx="547">
                  <c:v>-3.1601343609999999E-2</c:v>
                </c:pt>
                <c:pt idx="548">
                  <c:v>-1.497568073E-2</c:v>
                </c:pt>
                <c:pt idx="549">
                  <c:v>-1.7857551900000001E-3</c:v>
                </c:pt>
                <c:pt idx="550">
                  <c:v>2.6449810050000001E-2</c:v>
                </c:pt>
                <c:pt idx="551">
                  <c:v>5.6676357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C8-4E7B-83D3-5242563E84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  <c:max val="2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pocet_sympt_pripadu_7dni_100_000_nyni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53</c:f>
              <c:numCache>
                <c:formatCode>m/d/yyyy</c:formatCode>
                <c:ptCount val="55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</c:numCache>
            </c:numRef>
          </c:cat>
          <c:val>
            <c:numRef>
              <c:f>Sheet1!$B$2:$B$553</c:f>
              <c:numCache>
                <c:formatCode>#\ ##0.0</c:formatCode>
                <c:ptCount val="552"/>
                <c:pt idx="0">
                  <c:v>3.5321236837579999</c:v>
                </c:pt>
                <c:pt idx="1">
                  <c:v>4.1021224792849997</c:v>
                </c:pt>
                <c:pt idx="2">
                  <c:v>4.7655637003080003</c:v>
                </c:pt>
                <c:pt idx="3">
                  <c:v>5.8401515935150004</c:v>
                </c:pt>
                <c:pt idx="4">
                  <c:v>6.2886752358970002</c:v>
                </c:pt>
                <c:pt idx="5">
                  <c:v>6.6624449378820003</c:v>
                </c:pt>
                <c:pt idx="6">
                  <c:v>7.092280095165</c:v>
                </c:pt>
                <c:pt idx="7">
                  <c:v>9.3909637623729996</c:v>
                </c:pt>
                <c:pt idx="8">
                  <c:v>10.671124991671</c:v>
                </c:pt>
                <c:pt idx="9">
                  <c:v>13.222103207719</c:v>
                </c:pt>
                <c:pt idx="10">
                  <c:v>15.193738385690001</c:v>
                </c:pt>
                <c:pt idx="11">
                  <c:v>18.837992980044</c:v>
                </c:pt>
                <c:pt idx="12">
                  <c:v>19.884548145602</c:v>
                </c:pt>
                <c:pt idx="13">
                  <c:v>20.959136038809</c:v>
                </c:pt>
                <c:pt idx="14">
                  <c:v>21.856183323572999</c:v>
                </c:pt>
                <c:pt idx="15">
                  <c:v>25.023881547896</c:v>
                </c:pt>
                <c:pt idx="16">
                  <c:v>31.125671932801001</c:v>
                </c:pt>
                <c:pt idx="17">
                  <c:v>34.246648944375998</c:v>
                </c:pt>
                <c:pt idx="18">
                  <c:v>34.517631978315002</c:v>
                </c:pt>
                <c:pt idx="19">
                  <c:v>35.115663501490999</c:v>
                </c:pt>
                <c:pt idx="20">
                  <c:v>36.928446556117997</c:v>
                </c:pt>
                <c:pt idx="21">
                  <c:v>40.283029631433998</c:v>
                </c:pt>
                <c:pt idx="22">
                  <c:v>42.077124200961997</c:v>
                </c:pt>
                <c:pt idx="23">
                  <c:v>41.488436920334998</c:v>
                </c:pt>
                <c:pt idx="24">
                  <c:v>45.450395761376001</c:v>
                </c:pt>
                <c:pt idx="25">
                  <c:v>47.534161849942997</c:v>
                </c:pt>
                <c:pt idx="26">
                  <c:v>49.150715811028</c:v>
                </c:pt>
                <c:pt idx="27">
                  <c:v>48.655470955897997</c:v>
                </c:pt>
                <c:pt idx="28">
                  <c:v>47.739735186033997</c:v>
                </c:pt>
                <c:pt idx="29">
                  <c:v>50.851367955059999</c:v>
                </c:pt>
                <c:pt idx="30">
                  <c:v>55.878570446757998</c:v>
                </c:pt>
                <c:pt idx="31">
                  <c:v>60.139545049387003</c:v>
                </c:pt>
                <c:pt idx="32">
                  <c:v>63.31658751626</c:v>
                </c:pt>
                <c:pt idx="33">
                  <c:v>65.484451787772997</c:v>
                </c:pt>
                <c:pt idx="34">
                  <c:v>73.333615529458001</c:v>
                </c:pt>
                <c:pt idx="35">
                  <c:v>84.630804771954999</c:v>
                </c:pt>
                <c:pt idx="36">
                  <c:v>96.133567350543004</c:v>
                </c:pt>
                <c:pt idx="37">
                  <c:v>105.113384440733</c:v>
                </c:pt>
                <c:pt idx="38">
                  <c:v>125.222194407526</c:v>
                </c:pt>
                <c:pt idx="39">
                  <c:v>134.725289080495</c:v>
                </c:pt>
                <c:pt idx="40">
                  <c:v>139.88331096788801</c:v>
                </c:pt>
                <c:pt idx="41">
                  <c:v>141.23822613758401</c:v>
                </c:pt>
                <c:pt idx="42">
                  <c:v>155.74983481715199</c:v>
                </c:pt>
                <c:pt idx="43">
                  <c:v>174.10192718461599</c:v>
                </c:pt>
                <c:pt idx="44">
                  <c:v>193.12680501565299</c:v>
                </c:pt>
                <c:pt idx="45">
                  <c:v>204.93792759837899</c:v>
                </c:pt>
                <c:pt idx="46">
                  <c:v>222.72002117031499</c:v>
                </c:pt>
                <c:pt idx="47">
                  <c:v>231.98016553699401</c:v>
                </c:pt>
                <c:pt idx="48">
                  <c:v>251.94881186554301</c:v>
                </c:pt>
                <c:pt idx="49">
                  <c:v>273.60876609557403</c:v>
                </c:pt>
                <c:pt idx="50">
                  <c:v>296.80117610374401</c:v>
                </c:pt>
                <c:pt idx="51">
                  <c:v>317.86309881059901</c:v>
                </c:pt>
                <c:pt idx="52">
                  <c:v>338.52321908782</c:v>
                </c:pt>
                <c:pt idx="53">
                  <c:v>362.96775759764</c:v>
                </c:pt>
                <c:pt idx="54">
                  <c:v>374.05937350404503</c:v>
                </c:pt>
                <c:pt idx="55">
                  <c:v>382.55328998165402</c:v>
                </c:pt>
                <c:pt idx="56">
                  <c:v>397.89653624813798</c:v>
                </c:pt>
                <c:pt idx="57">
                  <c:v>391.62654949734002</c:v>
                </c:pt>
                <c:pt idx="58">
                  <c:v>387.19737852881798</c:v>
                </c:pt>
                <c:pt idx="59">
                  <c:v>380.82460510997299</c:v>
                </c:pt>
                <c:pt idx="60">
                  <c:v>373.28380137242601</c:v>
                </c:pt>
                <c:pt idx="61">
                  <c:v>371.20003528385899</c:v>
                </c:pt>
                <c:pt idx="62">
                  <c:v>367.73332129794801</c:v>
                </c:pt>
                <c:pt idx="63">
                  <c:v>355.82875628972602</c:v>
                </c:pt>
                <c:pt idx="64">
                  <c:v>371.65790316879099</c:v>
                </c:pt>
                <c:pt idx="65">
                  <c:v>372.87265470024198</c:v>
                </c:pt>
                <c:pt idx="66">
                  <c:v>361.79972727893602</c:v>
                </c:pt>
                <c:pt idx="67">
                  <c:v>341.24239366976099</c:v>
                </c:pt>
                <c:pt idx="68">
                  <c:v>326.66537529234603</c:v>
                </c:pt>
                <c:pt idx="69">
                  <c:v>312.09770115748</c:v>
                </c:pt>
                <c:pt idx="70">
                  <c:v>293.82970697296298</c:v>
                </c:pt>
                <c:pt idx="71">
                  <c:v>260.134368339015</c:v>
                </c:pt>
                <c:pt idx="72">
                  <c:v>232.33524675388</c:v>
                </c:pt>
                <c:pt idx="73">
                  <c:v>211.57233980861301</c:v>
                </c:pt>
                <c:pt idx="74">
                  <c:v>194.154671696111</c:v>
                </c:pt>
                <c:pt idx="75">
                  <c:v>186.51108129051801</c:v>
                </c:pt>
                <c:pt idx="76">
                  <c:v>183.98813580211899</c:v>
                </c:pt>
                <c:pt idx="77">
                  <c:v>162.71129551662301</c:v>
                </c:pt>
                <c:pt idx="78">
                  <c:v>145.87297044219801</c:v>
                </c:pt>
                <c:pt idx="79">
                  <c:v>141.462487958775</c:v>
                </c:pt>
                <c:pt idx="80">
                  <c:v>137.08938244555</c:v>
                </c:pt>
                <c:pt idx="81">
                  <c:v>134.38889634870901</c:v>
                </c:pt>
                <c:pt idx="82">
                  <c:v>132.39857268563901</c:v>
                </c:pt>
                <c:pt idx="83">
                  <c:v>130.75398599690399</c:v>
                </c:pt>
                <c:pt idx="84">
                  <c:v>138.621838223689</c:v>
                </c:pt>
                <c:pt idx="85">
                  <c:v>138.425609130147</c:v>
                </c:pt>
                <c:pt idx="86">
                  <c:v>127.969401717116</c:v>
                </c:pt>
                <c:pt idx="87">
                  <c:v>123.680394386838</c:v>
                </c:pt>
                <c:pt idx="88">
                  <c:v>122.054496183203</c:v>
                </c:pt>
                <c:pt idx="89">
                  <c:v>121.288268294134</c:v>
                </c:pt>
                <c:pt idx="90">
                  <c:v>119.176469477919</c:v>
                </c:pt>
                <c:pt idx="91">
                  <c:v>120.8864658645</c:v>
                </c:pt>
                <c:pt idx="92">
                  <c:v>122.54974103833401</c:v>
                </c:pt>
                <c:pt idx="93">
                  <c:v>128.77300657638401</c:v>
                </c:pt>
                <c:pt idx="94">
                  <c:v>131.968737528356</c:v>
                </c:pt>
                <c:pt idx="95">
                  <c:v>136.35118728412999</c:v>
                </c:pt>
                <c:pt idx="96">
                  <c:v>136.500695164924</c:v>
                </c:pt>
                <c:pt idx="97">
                  <c:v>141.415766746027</c:v>
                </c:pt>
                <c:pt idx="98">
                  <c:v>147.62034379897801</c:v>
                </c:pt>
                <c:pt idx="99">
                  <c:v>159.82392456878799</c:v>
                </c:pt>
                <c:pt idx="100">
                  <c:v>168.934561054673</c:v>
                </c:pt>
                <c:pt idx="101">
                  <c:v>178.091918753306</c:v>
                </c:pt>
                <c:pt idx="102">
                  <c:v>181.072732126636</c:v>
                </c:pt>
                <c:pt idx="103">
                  <c:v>185.04403521022701</c:v>
                </c:pt>
                <c:pt idx="104">
                  <c:v>189.68812375739</c:v>
                </c:pt>
                <c:pt idx="105">
                  <c:v>200.45269117455899</c:v>
                </c:pt>
                <c:pt idx="106">
                  <c:v>213.945777416217</c:v>
                </c:pt>
                <c:pt idx="107">
                  <c:v>224.813131501431</c:v>
                </c:pt>
                <c:pt idx="108">
                  <c:v>240.05359109987</c:v>
                </c:pt>
                <c:pt idx="109">
                  <c:v>248.78111364122</c:v>
                </c:pt>
                <c:pt idx="110">
                  <c:v>257.32175133157699</c:v>
                </c:pt>
                <c:pt idx="111">
                  <c:v>270.53451029674699</c:v>
                </c:pt>
                <c:pt idx="112">
                  <c:v>288.02693234964602</c:v>
                </c:pt>
                <c:pt idx="113">
                  <c:v>317.57342729156102</c:v>
                </c:pt>
                <c:pt idx="114">
                  <c:v>297.69822338850798</c:v>
                </c:pt>
                <c:pt idx="115">
                  <c:v>263.57304959727702</c:v>
                </c:pt>
                <c:pt idx="116">
                  <c:v>251.00504336803101</c:v>
                </c:pt>
                <c:pt idx="117">
                  <c:v>252.52815490361999</c:v>
                </c:pt>
                <c:pt idx="118">
                  <c:v>273.02007881494802</c:v>
                </c:pt>
                <c:pt idx="119">
                  <c:v>312.68638843810697</c:v>
                </c:pt>
                <c:pt idx="120">
                  <c:v>340.17715001910398</c:v>
                </c:pt>
                <c:pt idx="121">
                  <c:v>396.46686713804598</c:v>
                </c:pt>
                <c:pt idx="122">
                  <c:v>402.40046115705798</c:v>
                </c:pt>
                <c:pt idx="123">
                  <c:v>416.14584194755599</c:v>
                </c:pt>
                <c:pt idx="124">
                  <c:v>431.09663002695697</c:v>
                </c:pt>
                <c:pt idx="125">
                  <c:v>445.80446780006702</c:v>
                </c:pt>
                <c:pt idx="126">
                  <c:v>452.04642182321601</c:v>
                </c:pt>
                <c:pt idx="127">
                  <c:v>458.22296614851899</c:v>
                </c:pt>
                <c:pt idx="128">
                  <c:v>469.65097478670998</c:v>
                </c:pt>
                <c:pt idx="129">
                  <c:v>528.052490721867</c:v>
                </c:pt>
                <c:pt idx="130">
                  <c:v>547.75949825902705</c:v>
                </c:pt>
                <c:pt idx="131">
                  <c:v>536.18198174004101</c:v>
                </c:pt>
                <c:pt idx="132">
                  <c:v>512.48498263419197</c:v>
                </c:pt>
                <c:pt idx="133">
                  <c:v>465.894589281761</c:v>
                </c:pt>
                <c:pt idx="134">
                  <c:v>414.996500113953</c:v>
                </c:pt>
                <c:pt idx="135">
                  <c:v>368.723811008209</c:v>
                </c:pt>
                <c:pt idx="136">
                  <c:v>341.186328214463</c:v>
                </c:pt>
                <c:pt idx="137">
                  <c:v>319.34883337598899</c:v>
                </c:pt>
                <c:pt idx="138">
                  <c:v>310.41573749854803</c:v>
                </c:pt>
                <c:pt idx="139">
                  <c:v>298.408385822279</c:v>
                </c:pt>
                <c:pt idx="140">
                  <c:v>290.559222080594</c:v>
                </c:pt>
                <c:pt idx="141">
                  <c:v>273.81433943166599</c:v>
                </c:pt>
                <c:pt idx="142">
                  <c:v>271.21664000287001</c:v>
                </c:pt>
                <c:pt idx="143">
                  <c:v>266.58189569825601</c:v>
                </c:pt>
                <c:pt idx="144">
                  <c:v>261.50797199380901</c:v>
                </c:pt>
                <c:pt idx="145">
                  <c:v>259.44289439034202</c:v>
                </c:pt>
                <c:pt idx="146">
                  <c:v>256.564867685058</c:v>
                </c:pt>
                <c:pt idx="147">
                  <c:v>254.686674932583</c:v>
                </c:pt>
                <c:pt idx="148">
                  <c:v>255.99486888953101</c:v>
                </c:pt>
                <c:pt idx="149">
                  <c:v>258.60191256087597</c:v>
                </c:pt>
                <c:pt idx="150">
                  <c:v>255.50896827694999</c:v>
                </c:pt>
                <c:pt idx="151">
                  <c:v>254.453068868842</c:v>
                </c:pt>
                <c:pt idx="152">
                  <c:v>255.40618160890401</c:v>
                </c:pt>
                <c:pt idx="153">
                  <c:v>256.95732587214201</c:v>
                </c:pt>
                <c:pt idx="154">
                  <c:v>257.06945678273797</c:v>
                </c:pt>
                <c:pt idx="155">
                  <c:v>263.06846049959699</c:v>
                </c:pt>
                <c:pt idx="156">
                  <c:v>264.12435990770501</c:v>
                </c:pt>
                <c:pt idx="157">
                  <c:v>268.88057936546397</c:v>
                </c:pt>
                <c:pt idx="158">
                  <c:v>273.31909457653597</c:v>
                </c:pt>
                <c:pt idx="159">
                  <c:v>273.19761942339102</c:v>
                </c:pt>
                <c:pt idx="160">
                  <c:v>275.79531885218603</c:v>
                </c:pt>
                <c:pt idx="161">
                  <c:v>282.30825590927498</c:v>
                </c:pt>
                <c:pt idx="162">
                  <c:v>284.04628502350499</c:v>
                </c:pt>
                <c:pt idx="163">
                  <c:v>289.27906085129598</c:v>
                </c:pt>
                <c:pt idx="164">
                  <c:v>290.94233602512901</c:v>
                </c:pt>
                <c:pt idx="165">
                  <c:v>292.829873020153</c:v>
                </c:pt>
                <c:pt idx="166">
                  <c:v>294.64265607478001</c:v>
                </c:pt>
                <c:pt idx="167">
                  <c:v>299.84739917492197</c:v>
                </c:pt>
                <c:pt idx="168">
                  <c:v>313.34982965913002</c:v>
                </c:pt>
                <c:pt idx="169">
                  <c:v>322.292269779121</c:v>
                </c:pt>
                <c:pt idx="170">
                  <c:v>337.52338513501002</c:v>
                </c:pt>
                <c:pt idx="171">
                  <c:v>351.53040471689798</c:v>
                </c:pt>
                <c:pt idx="172">
                  <c:v>359.585141794675</c:v>
                </c:pt>
                <c:pt idx="173">
                  <c:v>365.54676854133601</c:v>
                </c:pt>
                <c:pt idx="174">
                  <c:v>380.553622076034</c:v>
                </c:pt>
                <c:pt idx="175">
                  <c:v>399.50374596667399</c:v>
                </c:pt>
                <c:pt idx="176">
                  <c:v>416.18321891775503</c:v>
                </c:pt>
                <c:pt idx="177">
                  <c:v>432.99351126453098</c:v>
                </c:pt>
                <c:pt idx="178">
                  <c:v>451.16806302355201</c:v>
                </c:pt>
                <c:pt idx="179">
                  <c:v>457.64362311044198</c:v>
                </c:pt>
                <c:pt idx="180">
                  <c:v>460.47492860297803</c:v>
                </c:pt>
                <c:pt idx="181">
                  <c:v>466.576718987883</c:v>
                </c:pt>
                <c:pt idx="182">
                  <c:v>470.63212025442101</c:v>
                </c:pt>
                <c:pt idx="183">
                  <c:v>479.677347042458</c:v>
                </c:pt>
                <c:pt idx="184">
                  <c:v>483.545863458003</c:v>
                </c:pt>
                <c:pt idx="185">
                  <c:v>477.40669610289899</c:v>
                </c:pt>
                <c:pt idx="186">
                  <c:v>484.80733620220201</c:v>
                </c:pt>
                <c:pt idx="187">
                  <c:v>483.25619193896398</c:v>
                </c:pt>
                <c:pt idx="188">
                  <c:v>473.31391786616302</c:v>
                </c:pt>
                <c:pt idx="189">
                  <c:v>463.30623409551498</c:v>
                </c:pt>
                <c:pt idx="190">
                  <c:v>453.036911533477</c:v>
                </c:pt>
                <c:pt idx="191">
                  <c:v>427.27483482416</c:v>
                </c:pt>
                <c:pt idx="192">
                  <c:v>438.18891012212202</c:v>
                </c:pt>
                <c:pt idx="193">
                  <c:v>424.845331761257</c:v>
                </c:pt>
                <c:pt idx="194">
                  <c:v>420.59370140117801</c:v>
                </c:pt>
                <c:pt idx="195">
                  <c:v>416.93075832172502</c:v>
                </c:pt>
                <c:pt idx="196">
                  <c:v>408.19389153782498</c:v>
                </c:pt>
                <c:pt idx="197">
                  <c:v>394.19621619848698</c:v>
                </c:pt>
                <c:pt idx="198">
                  <c:v>390.14081493194999</c:v>
                </c:pt>
                <c:pt idx="199">
                  <c:v>353.548761107617</c:v>
                </c:pt>
                <c:pt idx="200">
                  <c:v>344.97074644706203</c:v>
                </c:pt>
                <c:pt idx="201">
                  <c:v>339.10256212589701</c:v>
                </c:pt>
                <c:pt idx="202">
                  <c:v>324.80587102496997</c:v>
                </c:pt>
                <c:pt idx="203">
                  <c:v>306.00525501512499</c:v>
                </c:pt>
                <c:pt idx="204">
                  <c:v>287.91480143905</c:v>
                </c:pt>
                <c:pt idx="205">
                  <c:v>271.394180611313</c:v>
                </c:pt>
                <c:pt idx="206">
                  <c:v>260.69502289199198</c:v>
                </c:pt>
                <c:pt idx="207">
                  <c:v>252.71503975461201</c:v>
                </c:pt>
                <c:pt idx="208">
                  <c:v>250.03324214286999</c:v>
                </c:pt>
                <c:pt idx="209">
                  <c:v>244.09030388130799</c:v>
                </c:pt>
                <c:pt idx="210">
                  <c:v>231.765247958353</c:v>
                </c:pt>
                <c:pt idx="211">
                  <c:v>222.53313631932301</c:v>
                </c:pt>
                <c:pt idx="212">
                  <c:v>211.98348648079599</c:v>
                </c:pt>
                <c:pt idx="213">
                  <c:v>190.73467892294801</c:v>
                </c:pt>
                <c:pt idx="214">
                  <c:v>181.838960015705</c:v>
                </c:pt>
                <c:pt idx="215">
                  <c:v>181.988467896499</c:v>
                </c:pt>
                <c:pt idx="216">
                  <c:v>155.918031183045</c:v>
                </c:pt>
                <c:pt idx="217">
                  <c:v>137.53790608793199</c:v>
                </c:pt>
                <c:pt idx="218">
                  <c:v>137.612660028329</c:v>
                </c:pt>
                <c:pt idx="219">
                  <c:v>136.407252739428</c:v>
                </c:pt>
                <c:pt idx="220">
                  <c:v>143.93871223442599</c:v>
                </c:pt>
                <c:pt idx="221">
                  <c:v>145.10674255312901</c:v>
                </c:pt>
                <c:pt idx="222">
                  <c:v>141.34101280562999</c:v>
                </c:pt>
                <c:pt idx="223">
                  <c:v>152.82508689911899</c:v>
                </c:pt>
                <c:pt idx="224">
                  <c:v>151.84394143140901</c:v>
                </c:pt>
                <c:pt idx="225">
                  <c:v>132.819063600372</c:v>
                </c:pt>
                <c:pt idx="226">
                  <c:v>120.241713128576</c:v>
                </c:pt>
                <c:pt idx="227">
                  <c:v>110.832060881104</c:v>
                </c:pt>
                <c:pt idx="228">
                  <c:v>106.711249916719</c:v>
                </c:pt>
                <c:pt idx="229">
                  <c:v>105.739448691558</c:v>
                </c:pt>
                <c:pt idx="230">
                  <c:v>103.777157756137</c:v>
                </c:pt>
                <c:pt idx="231">
                  <c:v>98.320120107156001</c:v>
                </c:pt>
                <c:pt idx="232">
                  <c:v>94.675865512802005</c:v>
                </c:pt>
                <c:pt idx="233">
                  <c:v>91.685707896921997</c:v>
                </c:pt>
                <c:pt idx="234">
                  <c:v>88.069486030217007</c:v>
                </c:pt>
                <c:pt idx="235">
                  <c:v>86.359489643635001</c:v>
                </c:pt>
                <c:pt idx="236">
                  <c:v>86.593095707375994</c:v>
                </c:pt>
                <c:pt idx="237">
                  <c:v>82.715235049282001</c:v>
                </c:pt>
                <c:pt idx="238">
                  <c:v>79.192455608073004</c:v>
                </c:pt>
                <c:pt idx="239">
                  <c:v>76.585411936726999</c:v>
                </c:pt>
                <c:pt idx="240">
                  <c:v>74.202630086572995</c:v>
                </c:pt>
                <c:pt idx="241">
                  <c:v>72.006733087411007</c:v>
                </c:pt>
                <c:pt idx="242">
                  <c:v>72.034765815059998</c:v>
                </c:pt>
                <c:pt idx="243">
                  <c:v>70.614440947516997</c:v>
                </c:pt>
                <c:pt idx="244">
                  <c:v>68.483953646201996</c:v>
                </c:pt>
                <c:pt idx="245">
                  <c:v>64.026749950031004</c:v>
                </c:pt>
                <c:pt idx="246">
                  <c:v>60.616101419418001</c:v>
                </c:pt>
                <c:pt idx="247">
                  <c:v>57.102666220758998</c:v>
                </c:pt>
                <c:pt idx="248">
                  <c:v>54.233983758024003</c:v>
                </c:pt>
                <c:pt idx="249">
                  <c:v>51.869890392968998</c:v>
                </c:pt>
                <c:pt idx="250">
                  <c:v>51.028908563503002</c:v>
                </c:pt>
                <c:pt idx="251">
                  <c:v>48.188258828416998</c:v>
                </c:pt>
                <c:pt idx="252">
                  <c:v>44.899085450948</c:v>
                </c:pt>
                <c:pt idx="253">
                  <c:v>42.123845413710001</c:v>
                </c:pt>
                <c:pt idx="254">
                  <c:v>40.11483326554</c:v>
                </c:pt>
                <c:pt idx="255">
                  <c:v>37.451724138896999</c:v>
                </c:pt>
                <c:pt idx="256">
                  <c:v>36.507955641385003</c:v>
                </c:pt>
                <c:pt idx="257">
                  <c:v>35.88189139056</c:v>
                </c:pt>
                <c:pt idx="258">
                  <c:v>33.648617421200001</c:v>
                </c:pt>
                <c:pt idx="259">
                  <c:v>31.209770115748</c:v>
                </c:pt>
                <c:pt idx="260">
                  <c:v>28.733545840097001</c:v>
                </c:pt>
                <c:pt idx="261">
                  <c:v>25.986338530506998</c:v>
                </c:pt>
                <c:pt idx="262">
                  <c:v>24.304374871575</c:v>
                </c:pt>
                <c:pt idx="263">
                  <c:v>23.295196676214999</c:v>
                </c:pt>
                <c:pt idx="264">
                  <c:v>23.127000310322</c:v>
                </c:pt>
                <c:pt idx="265">
                  <c:v>21.388971196092001</c:v>
                </c:pt>
                <c:pt idx="266">
                  <c:v>18.109142061172999</c:v>
                </c:pt>
                <c:pt idx="267">
                  <c:v>16.632751738332001</c:v>
                </c:pt>
                <c:pt idx="268">
                  <c:v>15.847835364164</c:v>
                </c:pt>
                <c:pt idx="269">
                  <c:v>14.791935956055999</c:v>
                </c:pt>
                <c:pt idx="270">
                  <c:v>14.399477768972</c:v>
                </c:pt>
                <c:pt idx="271">
                  <c:v>14.007019581888001</c:v>
                </c:pt>
                <c:pt idx="272">
                  <c:v>12.876366233382999</c:v>
                </c:pt>
                <c:pt idx="273">
                  <c:v>12.100794101764</c:v>
                </c:pt>
                <c:pt idx="274">
                  <c:v>11.119648634053</c:v>
                </c:pt>
                <c:pt idx="275">
                  <c:v>9.8675201324039996</c:v>
                </c:pt>
                <c:pt idx="276">
                  <c:v>8.8676861795939992</c:v>
                </c:pt>
                <c:pt idx="277">
                  <c:v>8.3537528393640006</c:v>
                </c:pt>
                <c:pt idx="278">
                  <c:v>8.2042449585699995</c:v>
                </c:pt>
                <c:pt idx="279">
                  <c:v>7.2885091887069997</c:v>
                </c:pt>
                <c:pt idx="280">
                  <c:v>6.615723725134</c:v>
                </c:pt>
                <c:pt idx="281">
                  <c:v>6.1578558402020001</c:v>
                </c:pt>
                <c:pt idx="282">
                  <c:v>5.6065455297750004</c:v>
                </c:pt>
                <c:pt idx="283">
                  <c:v>5.1206449171940003</c:v>
                </c:pt>
                <c:pt idx="284">
                  <c:v>4.849661883255</c:v>
                </c:pt>
                <c:pt idx="285">
                  <c:v>4.6814655173619997</c:v>
                </c:pt>
                <c:pt idx="286">
                  <c:v>4.0740897516360004</c:v>
                </c:pt>
                <c:pt idx="287">
                  <c:v>3.3452388327649998</c:v>
                </c:pt>
                <c:pt idx="288">
                  <c:v>2.9621248882310001</c:v>
                </c:pt>
                <c:pt idx="289">
                  <c:v>2.72851882449</c:v>
                </c:pt>
                <c:pt idx="290">
                  <c:v>2.3827818501540001</c:v>
                </c:pt>
                <c:pt idx="291">
                  <c:v>2.3360606374059998</c:v>
                </c:pt>
                <c:pt idx="292">
                  <c:v>2.3454048799549998</c:v>
                </c:pt>
                <c:pt idx="293">
                  <c:v>2.0931103311160002</c:v>
                </c:pt>
                <c:pt idx="294">
                  <c:v>1.831471539726</c:v>
                </c:pt>
                <c:pt idx="295">
                  <c:v>1.803438812077</c:v>
                </c:pt>
                <c:pt idx="296">
                  <c:v>1.6913079014820001</c:v>
                </c:pt>
                <c:pt idx="297">
                  <c:v>1.6819636589319999</c:v>
                </c:pt>
                <c:pt idx="298">
                  <c:v>1.7006521440310001</c:v>
                </c:pt>
                <c:pt idx="299">
                  <c:v>1.7006521440310001</c:v>
                </c:pt>
                <c:pt idx="300">
                  <c:v>1.7660618418789999</c:v>
                </c:pt>
                <c:pt idx="301">
                  <c:v>1.8781927524740001</c:v>
                </c:pt>
                <c:pt idx="302">
                  <c:v>1.8781927524740001</c:v>
                </c:pt>
                <c:pt idx="303">
                  <c:v>2.1398315438640001</c:v>
                </c:pt>
                <c:pt idx="304">
                  <c:v>2.308027909757</c:v>
                </c:pt>
                <c:pt idx="305">
                  <c:v>2.3547491225049999</c:v>
                </c:pt>
                <c:pt idx="306">
                  <c:v>2.4014703352529998</c:v>
                </c:pt>
                <c:pt idx="307">
                  <c:v>2.373437607604</c:v>
                </c:pt>
                <c:pt idx="308">
                  <c:v>2.2332739693599999</c:v>
                </c:pt>
                <c:pt idx="309">
                  <c:v>2.5229454883979998</c:v>
                </c:pt>
                <c:pt idx="310">
                  <c:v>2.6163879138950001</c:v>
                </c:pt>
                <c:pt idx="311">
                  <c:v>2.9247479180320002</c:v>
                </c:pt>
                <c:pt idx="312">
                  <c:v>3.1116327690249999</c:v>
                </c:pt>
                <c:pt idx="313">
                  <c:v>3.2050751945210001</c:v>
                </c:pt>
                <c:pt idx="314">
                  <c:v>3.6909758071010002</c:v>
                </c:pt>
                <c:pt idx="315">
                  <c:v>4.2703188451780001</c:v>
                </c:pt>
                <c:pt idx="316">
                  <c:v>4.139499449483</c:v>
                </c:pt>
                <c:pt idx="317">
                  <c:v>4.1768764196820003</c:v>
                </c:pt>
                <c:pt idx="318">
                  <c:v>3.9899915686890002</c:v>
                </c:pt>
                <c:pt idx="319">
                  <c:v>3.9993358112389998</c:v>
                </c:pt>
                <c:pt idx="320">
                  <c:v>4.018024296338</c:v>
                </c:pt>
                <c:pt idx="321">
                  <c:v>3.8965491431929999</c:v>
                </c:pt>
                <c:pt idx="322">
                  <c:v>3.9339261133919998</c:v>
                </c:pt>
                <c:pt idx="323">
                  <c:v>4.1488436920330001</c:v>
                </c:pt>
                <c:pt idx="324">
                  <c:v>4.139499449483</c:v>
                </c:pt>
                <c:pt idx="325">
                  <c:v>4.0927782367349996</c:v>
                </c:pt>
                <c:pt idx="326">
                  <c:v>4.0367127814380002</c:v>
                </c:pt>
                <c:pt idx="327">
                  <c:v>3.8591721729950001</c:v>
                </c:pt>
                <c:pt idx="328">
                  <c:v>3.7096642922009999</c:v>
                </c:pt>
                <c:pt idx="329">
                  <c:v>3.5601564114070001</c:v>
                </c:pt>
                <c:pt idx="330">
                  <c:v>3.3358945902160002</c:v>
                </c:pt>
                <c:pt idx="331">
                  <c:v>3.2891733774679999</c:v>
                </c:pt>
                <c:pt idx="332">
                  <c:v>3.2237636796200002</c:v>
                </c:pt>
                <c:pt idx="333">
                  <c:v>3.064911556277</c:v>
                </c:pt>
                <c:pt idx="334">
                  <c:v>3.1022885264750002</c:v>
                </c:pt>
                <c:pt idx="335">
                  <c:v>2.9901576158799998</c:v>
                </c:pt>
                <c:pt idx="336">
                  <c:v>2.8126170074369998</c:v>
                </c:pt>
                <c:pt idx="337">
                  <c:v>3.0462230711770002</c:v>
                </c:pt>
                <c:pt idx="338">
                  <c:v>2.8873709478339999</c:v>
                </c:pt>
                <c:pt idx="339">
                  <c:v>2.9247479180320002</c:v>
                </c:pt>
                <c:pt idx="340">
                  <c:v>2.9808133733300002</c:v>
                </c:pt>
                <c:pt idx="341">
                  <c:v>3.064911556277</c:v>
                </c:pt>
                <c:pt idx="342">
                  <c:v>3.1676982243220002</c:v>
                </c:pt>
                <c:pt idx="343">
                  <c:v>3.3265503476660001</c:v>
                </c:pt>
                <c:pt idx="344">
                  <c:v>3.2050751945210001</c:v>
                </c:pt>
                <c:pt idx="345">
                  <c:v>3.317206105116</c:v>
                </c:pt>
                <c:pt idx="346">
                  <c:v>3.2891733774679999</c:v>
                </c:pt>
                <c:pt idx="347">
                  <c:v>3.3452388327649998</c:v>
                </c:pt>
                <c:pt idx="348">
                  <c:v>3.2424521647189999</c:v>
                </c:pt>
                <c:pt idx="349">
                  <c:v>3.4199927731619999</c:v>
                </c:pt>
                <c:pt idx="350">
                  <c:v>3.4386812582620001</c:v>
                </c:pt>
                <c:pt idx="351">
                  <c:v>3.48540247101</c:v>
                </c:pt>
                <c:pt idx="352">
                  <c:v>3.3545830753149999</c:v>
                </c:pt>
                <c:pt idx="353">
                  <c:v>3.2798291349180002</c:v>
                </c:pt>
                <c:pt idx="354">
                  <c:v>3.2237636796200002</c:v>
                </c:pt>
                <c:pt idx="355">
                  <c:v>3.2704848923680001</c:v>
                </c:pt>
                <c:pt idx="356">
                  <c:v>3.2331079221699999</c:v>
                </c:pt>
                <c:pt idx="357">
                  <c:v>3.195730951971</c:v>
                </c:pt>
                <c:pt idx="358">
                  <c:v>3.2331079221699999</c:v>
                </c:pt>
                <c:pt idx="359">
                  <c:v>3.3545830753149999</c:v>
                </c:pt>
                <c:pt idx="360">
                  <c:v>3.4760582284599999</c:v>
                </c:pt>
                <c:pt idx="361">
                  <c:v>3.5040909561090001</c:v>
                </c:pt>
                <c:pt idx="362">
                  <c:v>3.5134351986589998</c:v>
                </c:pt>
                <c:pt idx="363">
                  <c:v>3.5040909561090001</c:v>
                </c:pt>
                <c:pt idx="364">
                  <c:v>3.48540247101</c:v>
                </c:pt>
                <c:pt idx="365">
                  <c:v>3.662943079453</c:v>
                </c:pt>
                <c:pt idx="366">
                  <c:v>4.2235976324299997</c:v>
                </c:pt>
                <c:pt idx="367">
                  <c:v>4.6254000620640001</c:v>
                </c:pt>
                <c:pt idx="368">
                  <c:v>4.8122849130559997</c:v>
                </c:pt>
                <c:pt idx="369">
                  <c:v>4.9898255214990002</c:v>
                </c:pt>
                <c:pt idx="370">
                  <c:v>5.6158897723240004</c:v>
                </c:pt>
                <c:pt idx="371">
                  <c:v>6.5129370570880001</c:v>
                </c:pt>
                <c:pt idx="372">
                  <c:v>6.8212970612259998</c:v>
                </c:pt>
                <c:pt idx="373">
                  <c:v>7.0735916100659999</c:v>
                </c:pt>
                <c:pt idx="374">
                  <c:v>7.4847382822490003</c:v>
                </c:pt>
                <c:pt idx="375">
                  <c:v>7.5968691928450003</c:v>
                </c:pt>
                <c:pt idx="376">
                  <c:v>7.5875249502950002</c:v>
                </c:pt>
                <c:pt idx="377">
                  <c:v>7.9799831373789996</c:v>
                </c:pt>
                <c:pt idx="378">
                  <c:v>8.1949007160209995</c:v>
                </c:pt>
                <c:pt idx="379">
                  <c:v>8.5780146605550005</c:v>
                </c:pt>
                <c:pt idx="380">
                  <c:v>9.0545710305860005</c:v>
                </c:pt>
                <c:pt idx="381">
                  <c:v>9.2694886092280004</c:v>
                </c:pt>
                <c:pt idx="382">
                  <c:v>9.4657177027700001</c:v>
                </c:pt>
                <c:pt idx="383">
                  <c:v>9.4844061878690002</c:v>
                </c:pt>
                <c:pt idx="384">
                  <c:v>9.3442425496249992</c:v>
                </c:pt>
                <c:pt idx="385">
                  <c:v>9.4844061878690002</c:v>
                </c:pt>
                <c:pt idx="386">
                  <c:v>9.4376849751209999</c:v>
                </c:pt>
                <c:pt idx="387">
                  <c:v>9.2881770943270006</c:v>
                </c:pt>
                <c:pt idx="388">
                  <c:v>9.3722752772739994</c:v>
                </c:pt>
                <c:pt idx="389">
                  <c:v>9.5311274006170006</c:v>
                </c:pt>
                <c:pt idx="390">
                  <c:v>9.8488316473039994</c:v>
                </c:pt>
                <c:pt idx="391">
                  <c:v>10.605715293824</c:v>
                </c:pt>
                <c:pt idx="392">
                  <c:v>9.8207989196559993</c:v>
                </c:pt>
                <c:pt idx="393">
                  <c:v>10.829977115015</c:v>
                </c:pt>
                <c:pt idx="394">
                  <c:v>12.325055922955</c:v>
                </c:pt>
                <c:pt idx="395">
                  <c:v>13.44636502891</c:v>
                </c:pt>
                <c:pt idx="396">
                  <c:v>13.969642611689</c:v>
                </c:pt>
                <c:pt idx="397">
                  <c:v>14.296691100925999</c:v>
                </c:pt>
                <c:pt idx="398">
                  <c:v>14.969476564499001</c:v>
                </c:pt>
                <c:pt idx="399">
                  <c:v>17.679306903890001</c:v>
                </c:pt>
                <c:pt idx="400">
                  <c:v>18.707173584349</c:v>
                </c:pt>
                <c:pt idx="401">
                  <c:v>18.866025707693002</c:v>
                </c:pt>
                <c:pt idx="402">
                  <c:v>19.716351779709001</c:v>
                </c:pt>
                <c:pt idx="403">
                  <c:v>19.856515417952998</c:v>
                </c:pt>
                <c:pt idx="404">
                  <c:v>19.893892388150999</c:v>
                </c:pt>
                <c:pt idx="405">
                  <c:v>21.622577259831999</c:v>
                </c:pt>
                <c:pt idx="406">
                  <c:v>23.014869399725999</c:v>
                </c:pt>
                <c:pt idx="407">
                  <c:v>25.435028220079001</c:v>
                </c:pt>
                <c:pt idx="408">
                  <c:v>27.845842797883002</c:v>
                </c:pt>
                <c:pt idx="409">
                  <c:v>30.630427077671001</c:v>
                </c:pt>
                <c:pt idx="410">
                  <c:v>32.284358008954001</c:v>
                </c:pt>
                <c:pt idx="411">
                  <c:v>33.321568931963</c:v>
                </c:pt>
                <c:pt idx="412">
                  <c:v>38.189919300318003</c:v>
                </c:pt>
                <c:pt idx="413">
                  <c:v>44.534659991513003</c:v>
                </c:pt>
                <c:pt idx="414">
                  <c:v>50.038418853242</c:v>
                </c:pt>
                <c:pt idx="415">
                  <c:v>57.513812892941999</c:v>
                </c:pt>
                <c:pt idx="416">
                  <c:v>66.568383923528998</c:v>
                </c:pt>
                <c:pt idx="417">
                  <c:v>70.651817917714993</c:v>
                </c:pt>
                <c:pt idx="418">
                  <c:v>73.062632495518997</c:v>
                </c:pt>
                <c:pt idx="419">
                  <c:v>79.519504097310005</c:v>
                </c:pt>
                <c:pt idx="420">
                  <c:v>89.358991502064995</c:v>
                </c:pt>
                <c:pt idx="421">
                  <c:v>98.946184357980002</c:v>
                </c:pt>
                <c:pt idx="422">
                  <c:v>97.170778273552003</c:v>
                </c:pt>
                <c:pt idx="423">
                  <c:v>102.824045016075</c:v>
                </c:pt>
                <c:pt idx="424">
                  <c:v>109.33698207316399</c:v>
                </c:pt>
                <c:pt idx="425">
                  <c:v>111.542223314875</c:v>
                </c:pt>
                <c:pt idx="426">
                  <c:v>128.54874475519301</c:v>
                </c:pt>
                <c:pt idx="427">
                  <c:v>152.55410386518</c:v>
                </c:pt>
                <c:pt idx="428">
                  <c:v>178.89552361257299</c:v>
                </c:pt>
                <c:pt idx="429">
                  <c:v>214.076596811912</c:v>
                </c:pt>
                <c:pt idx="430">
                  <c:v>243.06243720084899</c:v>
                </c:pt>
                <c:pt idx="431">
                  <c:v>253.836348860567</c:v>
                </c:pt>
                <c:pt idx="432">
                  <c:v>257.57404588041697</c:v>
                </c:pt>
                <c:pt idx="433">
                  <c:v>269.29172603764698</c:v>
                </c:pt>
                <c:pt idx="434">
                  <c:v>290.60594329334202</c:v>
                </c:pt>
                <c:pt idx="435">
                  <c:v>308.07967686114102</c:v>
                </c:pt>
                <c:pt idx="436">
                  <c:v>313.975893909955</c:v>
                </c:pt>
                <c:pt idx="437">
                  <c:v>326.048655284071</c:v>
                </c:pt>
                <c:pt idx="438">
                  <c:v>335.61715965488702</c:v>
                </c:pt>
                <c:pt idx="439">
                  <c:v>343.51304460931999</c:v>
                </c:pt>
                <c:pt idx="440">
                  <c:v>352.212534423021</c:v>
                </c:pt>
                <c:pt idx="441">
                  <c:v>377.29248142621498</c:v>
                </c:pt>
                <c:pt idx="442">
                  <c:v>367.28479765556602</c:v>
                </c:pt>
                <c:pt idx="443">
                  <c:v>376.554286264795</c:v>
                </c:pt>
                <c:pt idx="444">
                  <c:v>418.30436197652</c:v>
                </c:pt>
                <c:pt idx="445">
                  <c:v>447.981676314129</c:v>
                </c:pt>
                <c:pt idx="446">
                  <c:v>458.10149099537301</c:v>
                </c:pt>
                <c:pt idx="447">
                  <c:v>469.41736872297002</c:v>
                </c:pt>
                <c:pt idx="448">
                  <c:v>482.44324283714701</c:v>
                </c:pt>
                <c:pt idx="449">
                  <c:v>503.402378875956</c:v>
                </c:pt>
                <c:pt idx="450">
                  <c:v>538.23771510095901</c:v>
                </c:pt>
                <c:pt idx="451">
                  <c:v>526.54806767137802</c:v>
                </c:pt>
                <c:pt idx="452">
                  <c:v>513.81186507623897</c:v>
                </c:pt>
                <c:pt idx="453">
                  <c:v>513.71842265074201</c:v>
                </c:pt>
                <c:pt idx="454">
                  <c:v>525.23987371443002</c:v>
                </c:pt>
                <c:pt idx="455">
                  <c:v>519.38103363581502</c:v>
                </c:pt>
                <c:pt idx="456">
                  <c:v>538.75164844118797</c:v>
                </c:pt>
                <c:pt idx="457">
                  <c:v>528.033802236768</c:v>
                </c:pt>
                <c:pt idx="458">
                  <c:v>516.88612087506499</c:v>
                </c:pt>
                <c:pt idx="459">
                  <c:v>508.22400803156302</c:v>
                </c:pt>
                <c:pt idx="460">
                  <c:v>497.59960425263898</c:v>
                </c:pt>
                <c:pt idx="461">
                  <c:v>482.602094960491</c:v>
                </c:pt>
                <c:pt idx="462">
                  <c:v>465.95999897960797</c:v>
                </c:pt>
                <c:pt idx="463">
                  <c:v>441.618247137835</c:v>
                </c:pt>
                <c:pt idx="464">
                  <c:v>418.780918346551</c:v>
                </c:pt>
                <c:pt idx="465">
                  <c:v>393.20572648822701</c:v>
                </c:pt>
                <c:pt idx="466">
                  <c:v>381.85247179043199</c:v>
                </c:pt>
                <c:pt idx="467">
                  <c:v>375.00314200155702</c:v>
                </c:pt>
                <c:pt idx="468">
                  <c:v>359.79071513076701</c:v>
                </c:pt>
                <c:pt idx="469">
                  <c:v>346.31631737420798</c:v>
                </c:pt>
                <c:pt idx="470">
                  <c:v>322.96505524269401</c:v>
                </c:pt>
                <c:pt idx="471">
                  <c:v>301.80969011034301</c:v>
                </c:pt>
                <c:pt idx="472">
                  <c:v>285.14890564436098</c:v>
                </c:pt>
                <c:pt idx="473">
                  <c:v>273.03876730004703</c:v>
                </c:pt>
                <c:pt idx="474">
                  <c:v>270.65598544989302</c:v>
                </c:pt>
                <c:pt idx="475">
                  <c:v>255.92011494913399</c:v>
                </c:pt>
                <c:pt idx="476">
                  <c:v>230.63459460984799</c:v>
                </c:pt>
                <c:pt idx="477">
                  <c:v>213.88036771837</c:v>
                </c:pt>
                <c:pt idx="478">
                  <c:v>199.265972370756</c:v>
                </c:pt>
                <c:pt idx="479">
                  <c:v>166.25276344293101</c:v>
                </c:pt>
                <c:pt idx="480">
                  <c:v>150.91886141899599</c:v>
                </c:pt>
                <c:pt idx="481">
                  <c:v>147.85394986271899</c:v>
                </c:pt>
                <c:pt idx="482">
                  <c:v>142.17265039254599</c:v>
                </c:pt>
                <c:pt idx="483">
                  <c:v>132.585457536631</c:v>
                </c:pt>
                <c:pt idx="484">
                  <c:v>126.100553207191</c:v>
                </c:pt>
                <c:pt idx="485">
                  <c:v>123.596296203892</c:v>
                </c:pt>
                <c:pt idx="486">
                  <c:v>136.584793347871</c:v>
                </c:pt>
                <c:pt idx="487">
                  <c:v>137.19216911359601</c:v>
                </c:pt>
                <c:pt idx="488">
                  <c:v>136.85577638180999</c:v>
                </c:pt>
                <c:pt idx="489">
                  <c:v>143.013632222013</c:v>
                </c:pt>
                <c:pt idx="490">
                  <c:v>149.71345413009399</c:v>
                </c:pt>
                <c:pt idx="491">
                  <c:v>155.245245719472</c:v>
                </c:pt>
                <c:pt idx="492">
                  <c:v>155.03032814083099</c:v>
                </c:pt>
                <c:pt idx="493">
                  <c:v>159.683760930544</c:v>
                </c:pt>
                <c:pt idx="494">
                  <c:v>167.13112224259501</c:v>
                </c:pt>
                <c:pt idx="495">
                  <c:v>167.27128588084</c:v>
                </c:pt>
                <c:pt idx="496">
                  <c:v>158.64655000753601</c:v>
                </c:pt>
                <c:pt idx="497">
                  <c:v>155.133114808877</c:v>
                </c:pt>
                <c:pt idx="498">
                  <c:v>162.79539369956899</c:v>
                </c:pt>
                <c:pt idx="499">
                  <c:v>176.260447213579</c:v>
                </c:pt>
                <c:pt idx="500">
                  <c:v>195.902045052891</c:v>
                </c:pt>
                <c:pt idx="501">
                  <c:v>214.37561257350001</c:v>
                </c:pt>
                <c:pt idx="502">
                  <c:v>223.719855123125</c:v>
                </c:pt>
                <c:pt idx="503">
                  <c:v>261.22764471732103</c:v>
                </c:pt>
                <c:pt idx="504">
                  <c:v>311.84540660864002</c:v>
                </c:pt>
                <c:pt idx="505">
                  <c:v>364.12644367379301</c:v>
                </c:pt>
                <c:pt idx="506">
                  <c:v>419.43501532502398</c:v>
                </c:pt>
                <c:pt idx="507">
                  <c:v>474.89309485705002</c:v>
                </c:pt>
                <c:pt idx="508">
                  <c:v>503.39303463340701</c:v>
                </c:pt>
                <c:pt idx="509">
                  <c:v>520.78267001825895</c:v>
                </c:pt>
                <c:pt idx="510">
                  <c:v>559.45848993115806</c:v>
                </c:pt>
                <c:pt idx="511">
                  <c:v>613.89804702527397</c:v>
                </c:pt>
                <c:pt idx="512">
                  <c:v>715.69422536088996</c:v>
                </c:pt>
                <c:pt idx="513">
                  <c:v>757.56577622576106</c:v>
                </c:pt>
                <c:pt idx="514">
                  <c:v>842.271334938113</c:v>
                </c:pt>
                <c:pt idx="515">
                  <c:v>844.15887193313699</c:v>
                </c:pt>
                <c:pt idx="516">
                  <c:v>881.376990008294</c:v>
                </c:pt>
                <c:pt idx="517">
                  <c:v>887.69369797184095</c:v>
                </c:pt>
                <c:pt idx="518">
                  <c:v>941.51653505768195</c:v>
                </c:pt>
                <c:pt idx="519">
                  <c:v>916.68888260332801</c:v>
                </c:pt>
                <c:pt idx="520">
                  <c:v>932.50868523984298</c:v>
                </c:pt>
                <c:pt idx="521">
                  <c:v>864.24899341483103</c:v>
                </c:pt>
                <c:pt idx="522">
                  <c:v>885.42304703228206</c:v>
                </c:pt>
                <c:pt idx="523">
                  <c:v>841.95363069142604</c:v>
                </c:pt>
                <c:pt idx="524">
                  <c:v>843.43936525681602</c:v>
                </c:pt>
                <c:pt idx="525">
                  <c:v>787.93456451204304</c:v>
                </c:pt>
                <c:pt idx="526">
                  <c:v>740.91433600232904</c:v>
                </c:pt>
                <c:pt idx="527">
                  <c:v>685.60576435109704</c:v>
                </c:pt>
                <c:pt idx="528">
                  <c:v>663.25433617239401</c:v>
                </c:pt>
                <c:pt idx="529">
                  <c:v>619.15885558071295</c:v>
                </c:pt>
                <c:pt idx="530">
                  <c:v>611.49657669001999</c:v>
                </c:pt>
                <c:pt idx="531">
                  <c:v>579.80090596169202</c:v>
                </c:pt>
                <c:pt idx="532">
                  <c:v>547.105401280553</c:v>
                </c:pt>
                <c:pt idx="533">
                  <c:v>502.01008673606202</c:v>
                </c:pt>
                <c:pt idx="534">
                  <c:v>472.77195179828499</c:v>
                </c:pt>
                <c:pt idx="535">
                  <c:v>438.99251498139</c:v>
                </c:pt>
                <c:pt idx="536">
                  <c:v>429.92859970825401</c:v>
                </c:pt>
                <c:pt idx="537">
                  <c:v>424.10713659983702</c:v>
                </c:pt>
                <c:pt idx="538">
                  <c:v>411.00650854526299</c:v>
                </c:pt>
                <c:pt idx="539">
                  <c:v>372.54560621100501</c:v>
                </c:pt>
                <c:pt idx="540">
                  <c:v>353.13761443543399</c:v>
                </c:pt>
                <c:pt idx="541">
                  <c:v>335.49568450174201</c:v>
                </c:pt>
                <c:pt idx="542">
                  <c:v>320.71309278823497</c:v>
                </c:pt>
                <c:pt idx="543">
                  <c:v>310.761474472884</c:v>
                </c:pt>
                <c:pt idx="544">
                  <c:v>308.04229989094301</c:v>
                </c:pt>
                <c:pt idx="545">
                  <c:v>294.54921364928401</c:v>
                </c:pt>
                <c:pt idx="546">
                  <c:v>282.49514076026799</c:v>
                </c:pt>
                <c:pt idx="547">
                  <c:v>274.09466670815499</c:v>
                </c:pt>
                <c:pt idx="548">
                  <c:v>265.63812720074401</c:v>
                </c:pt>
                <c:pt idx="549">
                  <c:v>262.70403504016201</c:v>
                </c:pt>
                <c:pt idx="550">
                  <c:v>261.30239865771802</c:v>
                </c:pt>
                <c:pt idx="551">
                  <c:v>252.03291004849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pocet_sympt_pripadu_7dni_100_000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53</c:f>
              <c:numCache>
                <c:formatCode>m/d/yyyy</c:formatCode>
                <c:ptCount val="55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</c:numCache>
            </c:numRef>
          </c:cat>
          <c:val>
            <c:numRef>
              <c:f>Sheet1!$B$2:$B$553</c:f>
              <c:numCache>
                <c:formatCode>0%</c:formatCode>
                <c:ptCount val="552"/>
                <c:pt idx="0">
                  <c:v>0.23127</c:v>
                </c:pt>
                <c:pt idx="1">
                  <c:v>0.33434599999999998</c:v>
                </c:pt>
                <c:pt idx="2">
                  <c:v>0.37466300000000002</c:v>
                </c:pt>
                <c:pt idx="3">
                  <c:v>0.82748500000000003</c:v>
                </c:pt>
                <c:pt idx="4">
                  <c:v>0.91193100000000005</c:v>
                </c:pt>
                <c:pt idx="5">
                  <c:v>0.92183199999999998</c:v>
                </c:pt>
                <c:pt idx="6">
                  <c:v>0.76922999999999997</c:v>
                </c:pt>
                <c:pt idx="7">
                  <c:v>0.96289000000000002</c:v>
                </c:pt>
                <c:pt idx="8">
                  <c:v>1.0105630000000001</c:v>
                </c:pt>
                <c:pt idx="9">
                  <c:v>1.0477559999999999</c:v>
                </c:pt>
                <c:pt idx="10">
                  <c:v>1.2869189999999999</c:v>
                </c:pt>
                <c:pt idx="11">
                  <c:v>1.6915880000000001</c:v>
                </c:pt>
                <c:pt idx="12">
                  <c:v>1.6767289999999999</c:v>
                </c:pt>
                <c:pt idx="13">
                  <c:v>1.0845720000000001</c:v>
                </c:pt>
                <c:pt idx="14">
                  <c:v>0.83307200000000003</c:v>
                </c:pt>
                <c:pt idx="15">
                  <c:v>0.73445499999999997</c:v>
                </c:pt>
                <c:pt idx="16">
                  <c:v>0.84338599999999997</c:v>
                </c:pt>
                <c:pt idx="17">
                  <c:v>0.74357700000000004</c:v>
                </c:pt>
                <c:pt idx="18">
                  <c:v>0.67604299999999995</c:v>
                </c:pt>
                <c:pt idx="19">
                  <c:v>0.616344</c:v>
                </c:pt>
                <c:pt idx="20">
                  <c:v>0.48795100000000002</c:v>
                </c:pt>
                <c:pt idx="21">
                  <c:v>0.46185100000000001</c:v>
                </c:pt>
                <c:pt idx="22">
                  <c:v>0.20626800000000001</c:v>
                </c:pt>
                <c:pt idx="23">
                  <c:v>9.4404000000000002E-2</c:v>
                </c:pt>
                <c:pt idx="24">
                  <c:v>0.16642599999999999</c:v>
                </c:pt>
                <c:pt idx="25">
                  <c:v>0.28915299999999999</c:v>
                </c:pt>
                <c:pt idx="26">
                  <c:v>0.26777499999999999</c:v>
                </c:pt>
                <c:pt idx="27">
                  <c:v>0.102243</c:v>
                </c:pt>
                <c:pt idx="28">
                  <c:v>-7.8200000000000003E-4</c:v>
                </c:pt>
                <c:pt idx="29">
                  <c:v>-9.6450000000000008E-3</c:v>
                </c:pt>
                <c:pt idx="30">
                  <c:v>6.9766999999999996E-2</c:v>
                </c:pt>
                <c:pt idx="31">
                  <c:v>0.15092900000000001</c:v>
                </c:pt>
                <c:pt idx="32">
                  <c:v>0.22931699999999999</c:v>
                </c:pt>
                <c:pt idx="33">
                  <c:v>0.25187500000000002</c:v>
                </c:pt>
                <c:pt idx="34">
                  <c:v>0.33446599999999999</c:v>
                </c:pt>
                <c:pt idx="35">
                  <c:v>0.45051200000000002</c:v>
                </c:pt>
                <c:pt idx="36">
                  <c:v>0.47561599999999998</c:v>
                </c:pt>
                <c:pt idx="37">
                  <c:v>0.48286299999999999</c:v>
                </c:pt>
                <c:pt idx="38">
                  <c:v>0.78584699999999996</c:v>
                </c:pt>
                <c:pt idx="39">
                  <c:v>0.93972800000000001</c:v>
                </c:pt>
                <c:pt idx="40">
                  <c:v>0.828731</c:v>
                </c:pt>
                <c:pt idx="41">
                  <c:v>0.55328299999999997</c:v>
                </c:pt>
                <c:pt idx="42">
                  <c:v>0.45916099999999999</c:v>
                </c:pt>
                <c:pt idx="43">
                  <c:v>0.45801700000000001</c:v>
                </c:pt>
                <c:pt idx="44">
                  <c:v>0.37722299999999997</c:v>
                </c:pt>
                <c:pt idx="45">
                  <c:v>0.416246</c:v>
                </c:pt>
                <c:pt idx="46">
                  <c:v>0.52524400000000004</c:v>
                </c:pt>
                <c:pt idx="47">
                  <c:v>0.52372099999999999</c:v>
                </c:pt>
                <c:pt idx="48">
                  <c:v>0.45345200000000002</c:v>
                </c:pt>
                <c:pt idx="49">
                  <c:v>0.39446599999999998</c:v>
                </c:pt>
                <c:pt idx="50">
                  <c:v>0.37151800000000001</c:v>
                </c:pt>
                <c:pt idx="51">
                  <c:v>0.324133</c:v>
                </c:pt>
                <c:pt idx="52">
                  <c:v>0.39768500000000001</c:v>
                </c:pt>
                <c:pt idx="53">
                  <c:v>0.49199100000000001</c:v>
                </c:pt>
                <c:pt idx="54">
                  <c:v>0.41522300000000001</c:v>
                </c:pt>
                <c:pt idx="55">
                  <c:v>0.25133699999999998</c:v>
                </c:pt>
                <c:pt idx="56">
                  <c:v>0.179785</c:v>
                </c:pt>
                <c:pt idx="57">
                  <c:v>8.7354000000000001E-2</c:v>
                </c:pt>
                <c:pt idx="58">
                  <c:v>4.5329999999999997E-3</c:v>
                </c:pt>
                <c:pt idx="59">
                  <c:v>-4.8490999999999999E-2</c:v>
                </c:pt>
                <c:pt idx="60">
                  <c:v>-5.4059000000000003E-2</c:v>
                </c:pt>
                <c:pt idx="61">
                  <c:v>-0.105292</c:v>
                </c:pt>
                <c:pt idx="62">
                  <c:v>-0.18582399999999999</c:v>
                </c:pt>
                <c:pt idx="63">
                  <c:v>-0.21843799999999999</c:v>
                </c:pt>
                <c:pt idx="64">
                  <c:v>-0.175121</c:v>
                </c:pt>
                <c:pt idx="65">
                  <c:v>-0.168458</c:v>
                </c:pt>
                <c:pt idx="66">
                  <c:v>-0.168263</c:v>
                </c:pt>
                <c:pt idx="67">
                  <c:v>-0.15292700000000001</c:v>
                </c:pt>
                <c:pt idx="68">
                  <c:v>-0.20044300000000001</c:v>
                </c:pt>
                <c:pt idx="69">
                  <c:v>-0.265546</c:v>
                </c:pt>
                <c:pt idx="70">
                  <c:v>-0.31514700000000001</c:v>
                </c:pt>
                <c:pt idx="71">
                  <c:v>-0.397567</c:v>
                </c:pt>
                <c:pt idx="72">
                  <c:v>-0.450762</c:v>
                </c:pt>
                <c:pt idx="73">
                  <c:v>-0.46493000000000001</c:v>
                </c:pt>
                <c:pt idx="74">
                  <c:v>-0.45497399999999999</c:v>
                </c:pt>
                <c:pt idx="75">
                  <c:v>-0.466281</c:v>
                </c:pt>
                <c:pt idx="76">
                  <c:v>-0.47586899999999999</c:v>
                </c:pt>
                <c:pt idx="77">
                  <c:v>-0.51188500000000003</c:v>
                </c:pt>
                <c:pt idx="78">
                  <c:v>-0.50126099999999996</c:v>
                </c:pt>
                <c:pt idx="79">
                  <c:v>-0.45947500000000002</c:v>
                </c:pt>
                <c:pt idx="80">
                  <c:v>-0.39811200000000002</c:v>
                </c:pt>
                <c:pt idx="81">
                  <c:v>-0.33305499999999999</c:v>
                </c:pt>
                <c:pt idx="82">
                  <c:v>-0.35970800000000003</c:v>
                </c:pt>
                <c:pt idx="83">
                  <c:v>-0.35157500000000003</c:v>
                </c:pt>
                <c:pt idx="84">
                  <c:v>-0.25226799999999999</c:v>
                </c:pt>
                <c:pt idx="85">
                  <c:v>-0.20359099999999999</c:v>
                </c:pt>
                <c:pt idx="86">
                  <c:v>-0.231265</c:v>
                </c:pt>
                <c:pt idx="87">
                  <c:v>-0.17865300000000001</c:v>
                </c:pt>
                <c:pt idx="88">
                  <c:v>-0.126579</c:v>
                </c:pt>
                <c:pt idx="89">
                  <c:v>-0.196881</c:v>
                </c:pt>
                <c:pt idx="90">
                  <c:v>-0.237428</c:v>
                </c:pt>
                <c:pt idx="91">
                  <c:v>-0.249637</c:v>
                </c:pt>
                <c:pt idx="92">
                  <c:v>-0.21396399999999999</c:v>
                </c:pt>
                <c:pt idx="93">
                  <c:v>-0.13392399999999999</c:v>
                </c:pt>
                <c:pt idx="94">
                  <c:v>-2.6401999999999998E-2</c:v>
                </c:pt>
                <c:pt idx="95">
                  <c:v>7.6661000000000007E-2</c:v>
                </c:pt>
                <c:pt idx="96">
                  <c:v>-9.4249999999999994E-3</c:v>
                </c:pt>
                <c:pt idx="97">
                  <c:v>-3.4143E-2</c:v>
                </c:pt>
                <c:pt idx="98">
                  <c:v>1.7846000000000001E-2</c:v>
                </c:pt>
                <c:pt idx="99">
                  <c:v>9.2767000000000002E-2</c:v>
                </c:pt>
                <c:pt idx="100">
                  <c:v>0.10642500000000001</c:v>
                </c:pt>
                <c:pt idx="101">
                  <c:v>0.20155000000000001</c:v>
                </c:pt>
                <c:pt idx="102">
                  <c:v>0.28339599999999998</c:v>
                </c:pt>
                <c:pt idx="103">
                  <c:v>0.171705</c:v>
                </c:pt>
                <c:pt idx="104">
                  <c:v>8.4806999999999994E-2</c:v>
                </c:pt>
                <c:pt idx="105">
                  <c:v>8.9596999999999996E-2</c:v>
                </c:pt>
                <c:pt idx="106">
                  <c:v>0.110593</c:v>
                </c:pt>
                <c:pt idx="107">
                  <c:v>0.112915</c:v>
                </c:pt>
                <c:pt idx="108">
                  <c:v>0.216555</c:v>
                </c:pt>
                <c:pt idx="109">
                  <c:v>0.31088100000000002</c:v>
                </c:pt>
                <c:pt idx="110">
                  <c:v>0.21887300000000001</c:v>
                </c:pt>
                <c:pt idx="111">
                  <c:v>0.15664500000000001</c:v>
                </c:pt>
                <c:pt idx="112">
                  <c:v>0.15075</c:v>
                </c:pt>
                <c:pt idx="113">
                  <c:v>0.23267199999999999</c:v>
                </c:pt>
                <c:pt idx="114">
                  <c:v>8.9979000000000003E-2</c:v>
                </c:pt>
                <c:pt idx="115">
                  <c:v>-1.6559999999999998E-2</c:v>
                </c:pt>
                <c:pt idx="116">
                  <c:v>-5.6480000000000002E-2</c:v>
                </c:pt>
                <c:pt idx="117">
                  <c:v>-0.14860400000000001</c:v>
                </c:pt>
                <c:pt idx="118">
                  <c:v>-0.17823</c:v>
                </c:pt>
                <c:pt idx="119">
                  <c:v>-0.14895700000000001</c:v>
                </c:pt>
                <c:pt idx="120">
                  <c:v>-3.5300000000000002E-3</c:v>
                </c:pt>
                <c:pt idx="121">
                  <c:v>0.271204</c:v>
                </c:pt>
                <c:pt idx="122">
                  <c:v>0.44248599999999999</c:v>
                </c:pt>
                <c:pt idx="123">
                  <c:v>0.54255100000000001</c:v>
                </c:pt>
                <c:pt idx="124">
                  <c:v>0.38037799999999999</c:v>
                </c:pt>
                <c:pt idx="125">
                  <c:v>0.19076000000000001</c:v>
                </c:pt>
                <c:pt idx="126">
                  <c:v>7.7413999999999997E-2</c:v>
                </c:pt>
                <c:pt idx="127">
                  <c:v>9.0289999999999995E-2</c:v>
                </c:pt>
                <c:pt idx="128">
                  <c:v>0.127383</c:v>
                </c:pt>
                <c:pt idx="129">
                  <c:v>0.223658</c:v>
                </c:pt>
                <c:pt idx="130">
                  <c:v>0.21759700000000001</c:v>
                </c:pt>
                <c:pt idx="131">
                  <c:v>6.0528999999999999E-2</c:v>
                </c:pt>
                <c:pt idx="132">
                  <c:v>-7.3955000000000007E-2</c:v>
                </c:pt>
                <c:pt idx="133">
                  <c:v>-0.17555699999999999</c:v>
                </c:pt>
                <c:pt idx="134">
                  <c:v>-0.245117</c:v>
                </c:pt>
                <c:pt idx="135">
                  <c:v>-0.32735500000000001</c:v>
                </c:pt>
                <c:pt idx="136">
                  <c:v>-0.40858100000000003</c:v>
                </c:pt>
                <c:pt idx="137">
                  <c:v>-0.43964500000000001</c:v>
                </c:pt>
                <c:pt idx="138">
                  <c:v>-0.47115299999999999</c:v>
                </c:pt>
                <c:pt idx="139">
                  <c:v>-0.47967399999999999</c:v>
                </c:pt>
                <c:pt idx="140">
                  <c:v>-0.44975300000000001</c:v>
                </c:pt>
                <c:pt idx="141">
                  <c:v>-0.40507500000000002</c:v>
                </c:pt>
                <c:pt idx="142">
                  <c:v>-0.35379300000000002</c:v>
                </c:pt>
                <c:pt idx="143">
                  <c:v>-0.27596799999999999</c:v>
                </c:pt>
                <c:pt idx="144">
                  <c:v>-0.21365500000000001</c:v>
                </c:pt>
                <c:pt idx="145">
                  <c:v>-0.25702399999999997</c:v>
                </c:pt>
                <c:pt idx="146">
                  <c:v>-0.27024500000000001</c:v>
                </c:pt>
                <c:pt idx="147">
                  <c:v>-0.24194099999999999</c:v>
                </c:pt>
                <c:pt idx="148">
                  <c:v>-0.19109400000000001</c:v>
                </c:pt>
                <c:pt idx="149">
                  <c:v>-0.18567</c:v>
                </c:pt>
                <c:pt idx="150">
                  <c:v>-0.11439299999999999</c:v>
                </c:pt>
                <c:pt idx="151">
                  <c:v>-6.676E-2</c:v>
                </c:pt>
                <c:pt idx="152">
                  <c:v>-0.13522300000000001</c:v>
                </c:pt>
                <c:pt idx="153">
                  <c:v>-0.16533100000000001</c:v>
                </c:pt>
                <c:pt idx="154">
                  <c:v>-0.14710400000000001</c:v>
                </c:pt>
                <c:pt idx="155">
                  <c:v>-0.12676699999999999</c:v>
                </c:pt>
                <c:pt idx="156">
                  <c:v>-0.124999</c:v>
                </c:pt>
                <c:pt idx="157">
                  <c:v>-2.7147999999999999E-2</c:v>
                </c:pt>
                <c:pt idx="158">
                  <c:v>2.538E-2</c:v>
                </c:pt>
                <c:pt idx="159">
                  <c:v>-6.7131999999999997E-2</c:v>
                </c:pt>
                <c:pt idx="160">
                  <c:v>-0.10560600000000001</c:v>
                </c:pt>
                <c:pt idx="161">
                  <c:v>-8.8708999999999996E-2</c:v>
                </c:pt>
                <c:pt idx="162">
                  <c:v>-8.1907999999999995E-2</c:v>
                </c:pt>
                <c:pt idx="163">
                  <c:v>-7.3223999999999997E-2</c:v>
                </c:pt>
                <c:pt idx="164">
                  <c:v>-1.1053E-2</c:v>
                </c:pt>
                <c:pt idx="165">
                  <c:v>2.6398000000000001E-2</c:v>
                </c:pt>
                <c:pt idx="166">
                  <c:v>-5.9392E-2</c:v>
                </c:pt>
                <c:pt idx="167">
                  <c:v>-0.101475</c:v>
                </c:pt>
                <c:pt idx="168">
                  <c:v>-6.9532999999999998E-2</c:v>
                </c:pt>
                <c:pt idx="169">
                  <c:v>-3.9648999999999997E-2</c:v>
                </c:pt>
                <c:pt idx="170">
                  <c:v>-4.2170000000000003E-3</c:v>
                </c:pt>
                <c:pt idx="171">
                  <c:v>0.10494299999999999</c:v>
                </c:pt>
                <c:pt idx="172">
                  <c:v>0.172731</c:v>
                </c:pt>
                <c:pt idx="173">
                  <c:v>7.5463000000000002E-2</c:v>
                </c:pt>
                <c:pt idx="174">
                  <c:v>2.5017000000000001E-2</c:v>
                </c:pt>
                <c:pt idx="175">
                  <c:v>6.0393000000000002E-2</c:v>
                </c:pt>
                <c:pt idx="176">
                  <c:v>6.9670999999999997E-2</c:v>
                </c:pt>
                <c:pt idx="177">
                  <c:v>7.9233999999999999E-2</c:v>
                </c:pt>
                <c:pt idx="178">
                  <c:v>0.16645299999999999</c:v>
                </c:pt>
                <c:pt idx="179">
                  <c:v>0.206424</c:v>
                </c:pt>
                <c:pt idx="180">
                  <c:v>8.1414E-2</c:v>
                </c:pt>
                <c:pt idx="181">
                  <c:v>-9.2259999999999998E-3</c:v>
                </c:pt>
                <c:pt idx="182">
                  <c:v>-1.8665000000000001E-2</c:v>
                </c:pt>
                <c:pt idx="183">
                  <c:v>-4.0216000000000002E-2</c:v>
                </c:pt>
                <c:pt idx="184">
                  <c:v>-6.08E-2</c:v>
                </c:pt>
                <c:pt idx="185">
                  <c:v>-3.1431000000000001E-2</c:v>
                </c:pt>
                <c:pt idx="186">
                  <c:v>9.5340000000000008E-3</c:v>
                </c:pt>
                <c:pt idx="187">
                  <c:v>-8.2722000000000004E-2</c:v>
                </c:pt>
                <c:pt idx="188">
                  <c:v>-0.156303</c:v>
                </c:pt>
                <c:pt idx="189">
                  <c:v>-0.17230899999999999</c:v>
                </c:pt>
                <c:pt idx="190">
                  <c:v>-0.20118900000000001</c:v>
                </c:pt>
                <c:pt idx="191">
                  <c:v>-0.23600199999999999</c:v>
                </c:pt>
                <c:pt idx="192">
                  <c:v>-0.167793</c:v>
                </c:pt>
                <c:pt idx="193">
                  <c:v>-0.16012100000000001</c:v>
                </c:pt>
                <c:pt idx="194">
                  <c:v>-0.22065599999999999</c:v>
                </c:pt>
                <c:pt idx="195">
                  <c:v>-0.25245000000000001</c:v>
                </c:pt>
                <c:pt idx="196">
                  <c:v>-0.24709999999999999</c:v>
                </c:pt>
                <c:pt idx="197">
                  <c:v>-0.234179</c:v>
                </c:pt>
                <c:pt idx="198">
                  <c:v>-0.24083099999999999</c:v>
                </c:pt>
                <c:pt idx="199">
                  <c:v>-0.25407999999999997</c:v>
                </c:pt>
                <c:pt idx="200">
                  <c:v>-0.218865</c:v>
                </c:pt>
                <c:pt idx="201">
                  <c:v>-0.283613</c:v>
                </c:pt>
                <c:pt idx="202">
                  <c:v>-0.340642</c:v>
                </c:pt>
                <c:pt idx="203">
                  <c:v>-0.35312500000000002</c:v>
                </c:pt>
                <c:pt idx="204">
                  <c:v>-0.36279499999999998</c:v>
                </c:pt>
                <c:pt idx="205">
                  <c:v>-0.38344600000000001</c:v>
                </c:pt>
                <c:pt idx="206">
                  <c:v>-0.315328</c:v>
                </c:pt>
                <c:pt idx="207">
                  <c:v>-0.28989599999999999</c:v>
                </c:pt>
                <c:pt idx="208">
                  <c:v>-0.33777099999999999</c:v>
                </c:pt>
                <c:pt idx="209">
                  <c:v>-0.36049100000000001</c:v>
                </c:pt>
                <c:pt idx="210">
                  <c:v>-0.34301900000000002</c:v>
                </c:pt>
                <c:pt idx="211">
                  <c:v>-0.323687</c:v>
                </c:pt>
                <c:pt idx="212">
                  <c:v>-0.31779600000000002</c:v>
                </c:pt>
                <c:pt idx="213">
                  <c:v>-0.31862299999999999</c:v>
                </c:pt>
                <c:pt idx="214">
                  <c:v>-0.30315799999999998</c:v>
                </c:pt>
                <c:pt idx="215">
                  <c:v>-0.35590899999999998</c:v>
                </c:pt>
                <c:pt idx="216">
                  <c:v>-0.45982499999999998</c:v>
                </c:pt>
                <c:pt idx="217">
                  <c:v>-0.48927799999999999</c:v>
                </c:pt>
                <c:pt idx="218">
                  <c:v>-0.45630700000000002</c:v>
                </c:pt>
                <c:pt idx="219">
                  <c:v>-0.407115</c:v>
                </c:pt>
                <c:pt idx="220">
                  <c:v>-0.284134</c:v>
                </c:pt>
                <c:pt idx="221">
                  <c:v>-0.23716599999999999</c:v>
                </c:pt>
                <c:pt idx="222">
                  <c:v>-0.24992500000000001</c:v>
                </c:pt>
                <c:pt idx="223">
                  <c:v>-0.160722</c:v>
                </c:pt>
                <c:pt idx="224">
                  <c:v>-0.13305500000000001</c:v>
                </c:pt>
                <c:pt idx="225">
                  <c:v>-0.20458799999999999</c:v>
                </c:pt>
                <c:pt idx="226">
                  <c:v>-0.25790000000000002</c:v>
                </c:pt>
                <c:pt idx="227">
                  <c:v>-0.28698499999999999</c:v>
                </c:pt>
                <c:pt idx="228">
                  <c:v>-0.28727399999999997</c:v>
                </c:pt>
                <c:pt idx="229">
                  <c:v>-0.33611000000000002</c:v>
                </c:pt>
                <c:pt idx="230">
                  <c:v>-0.41703800000000002</c:v>
                </c:pt>
                <c:pt idx="231">
                  <c:v>-0.42310399999999998</c:v>
                </c:pt>
                <c:pt idx="232">
                  <c:v>-0.36718499999999998</c:v>
                </c:pt>
                <c:pt idx="233">
                  <c:v>-0.32808300000000001</c:v>
                </c:pt>
                <c:pt idx="234">
                  <c:v>-0.25499899999999998</c:v>
                </c:pt>
                <c:pt idx="235">
                  <c:v>-0.217442</c:v>
                </c:pt>
                <c:pt idx="236">
                  <c:v>-0.288522</c:v>
                </c:pt>
                <c:pt idx="237">
                  <c:v>-0.33030700000000002</c:v>
                </c:pt>
                <c:pt idx="238">
                  <c:v>-0.30080000000000001</c:v>
                </c:pt>
                <c:pt idx="239">
                  <c:v>-0.29399599999999998</c:v>
                </c:pt>
                <c:pt idx="240">
                  <c:v>-0.28843999999999997</c:v>
                </c:pt>
                <c:pt idx="241">
                  <c:v>-0.23185800000000001</c:v>
                </c:pt>
                <c:pt idx="242">
                  <c:v>-0.20171800000000001</c:v>
                </c:pt>
                <c:pt idx="243">
                  <c:v>-0.28444199999999997</c:v>
                </c:pt>
                <c:pt idx="244">
                  <c:v>-0.30773499999999998</c:v>
                </c:pt>
                <c:pt idx="245">
                  <c:v>-0.30045899999999998</c:v>
                </c:pt>
                <c:pt idx="246">
                  <c:v>-0.31121199999999999</c:v>
                </c:pt>
                <c:pt idx="247">
                  <c:v>-0.32504899999999998</c:v>
                </c:pt>
                <c:pt idx="248">
                  <c:v>-0.302068</c:v>
                </c:pt>
                <c:pt idx="249">
                  <c:v>-0.30368699999999998</c:v>
                </c:pt>
                <c:pt idx="250">
                  <c:v>-0.36669299999999999</c:v>
                </c:pt>
                <c:pt idx="251">
                  <c:v>-0.39944099999999999</c:v>
                </c:pt>
                <c:pt idx="252">
                  <c:v>-0.38452599999999998</c:v>
                </c:pt>
                <c:pt idx="253">
                  <c:v>-0.38524399999999998</c:v>
                </c:pt>
                <c:pt idx="254">
                  <c:v>-0.379355</c:v>
                </c:pt>
                <c:pt idx="255">
                  <c:v>-0.34945599999999999</c:v>
                </c:pt>
                <c:pt idx="256">
                  <c:v>-0.31743500000000002</c:v>
                </c:pt>
                <c:pt idx="257">
                  <c:v>-0.382934</c:v>
                </c:pt>
                <c:pt idx="258">
                  <c:v>-0.40606900000000001</c:v>
                </c:pt>
                <c:pt idx="259">
                  <c:v>-0.38861400000000001</c:v>
                </c:pt>
                <c:pt idx="260">
                  <c:v>-0.40163399999999999</c:v>
                </c:pt>
                <c:pt idx="261">
                  <c:v>-0.42230899999999999</c:v>
                </c:pt>
                <c:pt idx="262">
                  <c:v>-0.39000899999999999</c:v>
                </c:pt>
                <c:pt idx="263">
                  <c:v>-0.37876900000000002</c:v>
                </c:pt>
                <c:pt idx="264">
                  <c:v>-0.43272899999999997</c:v>
                </c:pt>
                <c:pt idx="265">
                  <c:v>-0.46090399999999998</c:v>
                </c:pt>
                <c:pt idx="266">
                  <c:v>-0.480846</c:v>
                </c:pt>
                <c:pt idx="267">
                  <c:v>-0.47831099999999999</c:v>
                </c:pt>
                <c:pt idx="268">
                  <c:v>-0.456758</c:v>
                </c:pt>
                <c:pt idx="269">
                  <c:v>-0.42415399999999998</c:v>
                </c:pt>
                <c:pt idx="270">
                  <c:v>-0.40294400000000002</c:v>
                </c:pt>
                <c:pt idx="271">
                  <c:v>-0.46692699999999998</c:v>
                </c:pt>
                <c:pt idx="272">
                  <c:v>-0.46651100000000001</c:v>
                </c:pt>
                <c:pt idx="273">
                  <c:v>-0.40404899999999999</c:v>
                </c:pt>
                <c:pt idx="274">
                  <c:v>-0.41465800000000003</c:v>
                </c:pt>
                <c:pt idx="275">
                  <c:v>-0.45114300000000002</c:v>
                </c:pt>
                <c:pt idx="276">
                  <c:v>-0.43812899999999999</c:v>
                </c:pt>
                <c:pt idx="277">
                  <c:v>-0.436672</c:v>
                </c:pt>
                <c:pt idx="278">
                  <c:v>-0.48804599999999998</c:v>
                </c:pt>
                <c:pt idx="279">
                  <c:v>-0.50912500000000005</c:v>
                </c:pt>
                <c:pt idx="280">
                  <c:v>-0.50315699999999997</c:v>
                </c:pt>
                <c:pt idx="281">
                  <c:v>-0.496562</c:v>
                </c:pt>
                <c:pt idx="282">
                  <c:v>-0.49022900000000003</c:v>
                </c:pt>
                <c:pt idx="283">
                  <c:v>-0.45200000000000001</c:v>
                </c:pt>
                <c:pt idx="284">
                  <c:v>-0.43831100000000001</c:v>
                </c:pt>
                <c:pt idx="285">
                  <c:v>-0.49698700000000001</c:v>
                </c:pt>
                <c:pt idx="286">
                  <c:v>-0.52557100000000001</c:v>
                </c:pt>
                <c:pt idx="287">
                  <c:v>-0.546261</c:v>
                </c:pt>
                <c:pt idx="288">
                  <c:v>-0.55910899999999997</c:v>
                </c:pt>
                <c:pt idx="289">
                  <c:v>-0.563527</c:v>
                </c:pt>
                <c:pt idx="290">
                  <c:v>-0.55263099999999998</c:v>
                </c:pt>
                <c:pt idx="291">
                  <c:v>-0.52919000000000005</c:v>
                </c:pt>
                <c:pt idx="292">
                  <c:v>-0.54693099999999994</c:v>
                </c:pt>
                <c:pt idx="293">
                  <c:v>-0.54929499999999998</c:v>
                </c:pt>
                <c:pt idx="294">
                  <c:v>-0.50753700000000002</c:v>
                </c:pt>
                <c:pt idx="295">
                  <c:v>-0.45170399999999999</c:v>
                </c:pt>
                <c:pt idx="296">
                  <c:v>-0.44135799999999997</c:v>
                </c:pt>
                <c:pt idx="297">
                  <c:v>-0.33823500000000001</c:v>
                </c:pt>
                <c:pt idx="298">
                  <c:v>-0.30798399999999998</c:v>
                </c:pt>
                <c:pt idx="299">
                  <c:v>-0.34295999999999999</c:v>
                </c:pt>
                <c:pt idx="300">
                  <c:v>-0.26459100000000002</c:v>
                </c:pt>
                <c:pt idx="301">
                  <c:v>-0.13733899999999999</c:v>
                </c:pt>
                <c:pt idx="302">
                  <c:v>-6.9444000000000006E-2</c:v>
                </c:pt>
                <c:pt idx="303">
                  <c:v>8.0187999999999995E-2</c:v>
                </c:pt>
                <c:pt idx="304">
                  <c:v>0.241206</c:v>
                </c:pt>
                <c:pt idx="305">
                  <c:v>0.29230699999999998</c:v>
                </c:pt>
                <c:pt idx="306">
                  <c:v>0.19534799999999999</c:v>
                </c:pt>
                <c:pt idx="307">
                  <c:v>8.5470000000000004E-2</c:v>
                </c:pt>
                <c:pt idx="308">
                  <c:v>4.2009999999999999E-3</c:v>
                </c:pt>
                <c:pt idx="309">
                  <c:v>7.1428000000000005E-2</c:v>
                </c:pt>
                <c:pt idx="310">
                  <c:v>7.1939999999999999E-3</c:v>
                </c:pt>
                <c:pt idx="311">
                  <c:v>0.15498100000000001</c:v>
                </c:pt>
                <c:pt idx="312">
                  <c:v>0.23333300000000001</c:v>
                </c:pt>
                <c:pt idx="313">
                  <c:v>0.19512099999999999</c:v>
                </c:pt>
                <c:pt idx="314">
                  <c:v>0.390845</c:v>
                </c:pt>
                <c:pt idx="315">
                  <c:v>0.48859900000000001</c:v>
                </c:pt>
                <c:pt idx="316">
                  <c:v>0.338368</c:v>
                </c:pt>
                <c:pt idx="317">
                  <c:v>0.23480599999999999</c:v>
                </c:pt>
                <c:pt idx="318">
                  <c:v>0.196078</c:v>
                </c:pt>
                <c:pt idx="319">
                  <c:v>0.18559500000000001</c:v>
                </c:pt>
                <c:pt idx="320">
                  <c:v>1.1764E-2</c:v>
                </c:pt>
                <c:pt idx="321">
                  <c:v>-0.143737</c:v>
                </c:pt>
                <c:pt idx="322">
                  <c:v>-0.176125</c:v>
                </c:pt>
                <c:pt idx="323">
                  <c:v>-0.12598400000000001</c:v>
                </c:pt>
                <c:pt idx="324">
                  <c:v>-0.129666</c:v>
                </c:pt>
                <c:pt idx="325">
                  <c:v>-7.2033E-2</c:v>
                </c:pt>
                <c:pt idx="326">
                  <c:v>-5.6767999999999999E-2</c:v>
                </c:pt>
                <c:pt idx="327">
                  <c:v>-0.172344</c:v>
                </c:pt>
                <c:pt idx="328">
                  <c:v>-0.22611999999999999</c:v>
                </c:pt>
                <c:pt idx="329">
                  <c:v>-0.23493900000000001</c:v>
                </c:pt>
                <c:pt idx="330">
                  <c:v>-0.29724400000000001</c:v>
                </c:pt>
                <c:pt idx="331">
                  <c:v>-0.29599900000000001</c:v>
                </c:pt>
                <c:pt idx="332">
                  <c:v>-0.276729</c:v>
                </c:pt>
                <c:pt idx="333">
                  <c:v>-0.25959300000000002</c:v>
                </c:pt>
                <c:pt idx="334">
                  <c:v>-0.287553</c:v>
                </c:pt>
                <c:pt idx="335">
                  <c:v>-0.32913999999999999</c:v>
                </c:pt>
                <c:pt idx="336">
                  <c:v>-0.30645099999999997</c:v>
                </c:pt>
                <c:pt idx="337">
                  <c:v>-0.21634600000000001</c:v>
                </c:pt>
                <c:pt idx="338">
                  <c:v>-0.23134299999999999</c:v>
                </c:pt>
                <c:pt idx="339">
                  <c:v>-0.14713799999999999</c:v>
                </c:pt>
                <c:pt idx="340">
                  <c:v>-6.9970000000000004E-2</c:v>
                </c:pt>
                <c:pt idx="341">
                  <c:v>-0.120643</c:v>
                </c:pt>
                <c:pt idx="342">
                  <c:v>-0.110236</c:v>
                </c:pt>
                <c:pt idx="343">
                  <c:v>-6.0685999999999997E-2</c:v>
                </c:pt>
                <c:pt idx="344">
                  <c:v>-6.7933999999999994E-2</c:v>
                </c:pt>
                <c:pt idx="345">
                  <c:v>-2.2037999999999999E-2</c:v>
                </c:pt>
                <c:pt idx="346">
                  <c:v>3.2258000000000002E-2</c:v>
                </c:pt>
                <c:pt idx="347">
                  <c:v>4.3730999999999999E-2</c:v>
                </c:pt>
                <c:pt idx="348">
                  <c:v>-8.6842000000000003E-2</c:v>
                </c:pt>
                <c:pt idx="349">
                  <c:v>-0.12230199999999999</c:v>
                </c:pt>
                <c:pt idx="350">
                  <c:v>-0.12589</c:v>
                </c:pt>
                <c:pt idx="351">
                  <c:v>-6.0453E-2</c:v>
                </c:pt>
                <c:pt idx="352">
                  <c:v>-0.115763</c:v>
                </c:pt>
                <c:pt idx="353">
                  <c:v>-9.0673000000000004E-2</c:v>
                </c:pt>
                <c:pt idx="354">
                  <c:v>-7.0080000000000003E-2</c:v>
                </c:pt>
                <c:pt idx="355">
                  <c:v>-0.16267899999999999</c:v>
                </c:pt>
                <c:pt idx="356">
                  <c:v>-0.224215</c:v>
                </c:pt>
                <c:pt idx="357">
                  <c:v>-0.21917800000000001</c:v>
                </c:pt>
                <c:pt idx="358">
                  <c:v>-0.16222700000000001</c:v>
                </c:pt>
                <c:pt idx="359">
                  <c:v>-0.106965</c:v>
                </c:pt>
                <c:pt idx="360">
                  <c:v>-1.8468999999999999E-2</c:v>
                </c:pt>
                <c:pt idx="361">
                  <c:v>3.3057000000000003E-2</c:v>
                </c:pt>
                <c:pt idx="362">
                  <c:v>-9.8321000000000006E-2</c:v>
                </c:pt>
                <c:pt idx="363">
                  <c:v>-0.111374</c:v>
                </c:pt>
                <c:pt idx="364">
                  <c:v>-0.103365</c:v>
                </c:pt>
                <c:pt idx="365">
                  <c:v>-1.7543E-2</c:v>
                </c:pt>
                <c:pt idx="366">
                  <c:v>8.9155999999999999E-2</c:v>
                </c:pt>
                <c:pt idx="367">
                  <c:v>0.22828699999999999</c:v>
                </c:pt>
                <c:pt idx="368">
                  <c:v>0.30710599999999999</c:v>
                </c:pt>
                <c:pt idx="369">
                  <c:v>0.208144</c:v>
                </c:pt>
                <c:pt idx="370">
                  <c:v>0.33853</c:v>
                </c:pt>
                <c:pt idx="371">
                  <c:v>0.49570799999999998</c:v>
                </c:pt>
                <c:pt idx="372">
                  <c:v>0.445544</c:v>
                </c:pt>
                <c:pt idx="373">
                  <c:v>0.373865</c:v>
                </c:pt>
                <c:pt idx="374">
                  <c:v>0.467032</c:v>
                </c:pt>
                <c:pt idx="375">
                  <c:v>0.47016200000000002</c:v>
                </c:pt>
                <c:pt idx="376">
                  <c:v>0.217391</c:v>
                </c:pt>
                <c:pt idx="377">
                  <c:v>0.107652</c:v>
                </c:pt>
                <c:pt idx="378">
                  <c:v>6.5613000000000005E-2</c:v>
                </c:pt>
                <c:pt idx="379">
                  <c:v>5.5171999999999999E-2</c:v>
                </c:pt>
                <c:pt idx="380">
                  <c:v>7.6665999999999998E-2</c:v>
                </c:pt>
                <c:pt idx="381">
                  <c:v>0.148148</c:v>
                </c:pt>
                <c:pt idx="382">
                  <c:v>0.19176399999999999</c:v>
                </c:pt>
                <c:pt idx="383">
                  <c:v>2.8368000000000001E-2</c:v>
                </c:pt>
                <c:pt idx="384">
                  <c:v>-4.4889999999999999E-2</c:v>
                </c:pt>
                <c:pt idx="385">
                  <c:v>-2.7777E-2</c:v>
                </c:pt>
                <c:pt idx="386">
                  <c:v>-8.9269000000000001E-2</c:v>
                </c:pt>
                <c:pt idx="387">
                  <c:v>-0.12422900000000001</c:v>
                </c:pt>
                <c:pt idx="388">
                  <c:v>-6.7843000000000001E-2</c:v>
                </c:pt>
                <c:pt idx="389">
                  <c:v>-3.0418000000000001E-2</c:v>
                </c:pt>
                <c:pt idx="390">
                  <c:v>-0.102978</c:v>
                </c:pt>
                <c:pt idx="391">
                  <c:v>-6.0429999999999998E-2</c:v>
                </c:pt>
                <c:pt idx="392">
                  <c:v>-0.10705099999999999</c:v>
                </c:pt>
                <c:pt idx="393">
                  <c:v>-2.1940000000000001E-2</c:v>
                </c:pt>
                <c:pt idx="394">
                  <c:v>0.12831400000000001</c:v>
                </c:pt>
                <c:pt idx="395">
                  <c:v>0.30344199999999999</c:v>
                </c:pt>
                <c:pt idx="396">
                  <c:v>0.36779499999999998</c:v>
                </c:pt>
                <c:pt idx="397">
                  <c:v>0.18146699999999999</c:v>
                </c:pt>
                <c:pt idx="398">
                  <c:v>0.27243800000000001</c:v>
                </c:pt>
                <c:pt idx="399">
                  <c:v>0.43224800000000002</c:v>
                </c:pt>
                <c:pt idx="400">
                  <c:v>0.34002599999999999</c:v>
                </c:pt>
                <c:pt idx="401">
                  <c:v>0.25092900000000001</c:v>
                </c:pt>
                <c:pt idx="402">
                  <c:v>0.32205499999999998</c:v>
                </c:pt>
                <c:pt idx="403">
                  <c:v>0.32563900000000001</c:v>
                </c:pt>
                <c:pt idx="404">
                  <c:v>0.15518100000000001</c:v>
                </c:pt>
                <c:pt idx="405">
                  <c:v>0.147817</c:v>
                </c:pt>
                <c:pt idx="406">
                  <c:v>8.4066000000000002E-2</c:v>
                </c:pt>
                <c:pt idx="407">
                  <c:v>0.156329</c:v>
                </c:pt>
                <c:pt idx="408">
                  <c:v>0.23908499999999999</c:v>
                </c:pt>
                <c:pt idx="409">
                  <c:v>0.43645899999999999</c:v>
                </c:pt>
                <c:pt idx="410">
                  <c:v>0.54447900000000005</c:v>
                </c:pt>
                <c:pt idx="411">
                  <c:v>0.35744100000000001</c:v>
                </c:pt>
                <c:pt idx="412">
                  <c:v>0.42057600000000001</c:v>
                </c:pt>
                <c:pt idx="413">
                  <c:v>0.53642800000000002</c:v>
                </c:pt>
                <c:pt idx="414">
                  <c:v>0.60714199999999996</c:v>
                </c:pt>
                <c:pt idx="415">
                  <c:v>0.67985799999999996</c:v>
                </c:pt>
                <c:pt idx="416">
                  <c:v>0.96415700000000004</c:v>
                </c:pt>
                <c:pt idx="417">
                  <c:v>1.055736</c:v>
                </c:pt>
                <c:pt idx="418">
                  <c:v>0.70534300000000005</c:v>
                </c:pt>
                <c:pt idx="419">
                  <c:v>0.59692199999999995</c:v>
                </c:pt>
                <c:pt idx="420">
                  <c:v>0.59542799999999996</c:v>
                </c:pt>
                <c:pt idx="421">
                  <c:v>0.56526200000000004</c:v>
                </c:pt>
                <c:pt idx="422">
                  <c:v>0.331839</c:v>
                </c:pt>
                <c:pt idx="423">
                  <c:v>0.39115</c:v>
                </c:pt>
                <c:pt idx="424">
                  <c:v>0.454986</c:v>
                </c:pt>
                <c:pt idx="425">
                  <c:v>0.25270199999999998</c:v>
                </c:pt>
                <c:pt idx="426">
                  <c:v>0.273206</c:v>
                </c:pt>
                <c:pt idx="427">
                  <c:v>0.38156800000000002</c:v>
                </c:pt>
                <c:pt idx="428">
                  <c:v>0.62122100000000002</c:v>
                </c:pt>
                <c:pt idx="429">
                  <c:v>0.81006500000000004</c:v>
                </c:pt>
                <c:pt idx="430">
                  <c:v>1.083126</c:v>
                </c:pt>
                <c:pt idx="431">
                  <c:v>1.1875500000000001</c:v>
                </c:pt>
                <c:pt idx="432">
                  <c:v>0.78218100000000002</c:v>
                </c:pt>
                <c:pt idx="433">
                  <c:v>0.54766099999999995</c:v>
                </c:pt>
                <c:pt idx="434">
                  <c:v>0.45333800000000002</c:v>
                </c:pt>
                <c:pt idx="435">
                  <c:v>0.36634800000000001</c:v>
                </c:pt>
                <c:pt idx="436">
                  <c:v>0.18857399999999999</c:v>
                </c:pt>
                <c:pt idx="437">
                  <c:v>0.21798999999999999</c:v>
                </c:pt>
                <c:pt idx="438">
                  <c:v>0.269959</c:v>
                </c:pt>
                <c:pt idx="439">
                  <c:v>0.13641800000000001</c:v>
                </c:pt>
                <c:pt idx="440">
                  <c:v>4.8075E-2</c:v>
                </c:pt>
                <c:pt idx="441">
                  <c:v>6.1351000000000003E-2</c:v>
                </c:pt>
                <c:pt idx="442">
                  <c:v>1.8658999999999999E-2</c:v>
                </c:pt>
                <c:pt idx="443">
                  <c:v>1.1169999999999999E-3</c:v>
                </c:pt>
                <c:pt idx="444">
                  <c:v>0.16115399999999999</c:v>
                </c:pt>
                <c:pt idx="445">
                  <c:v>0.26566099999999998</c:v>
                </c:pt>
                <c:pt idx="446">
                  <c:v>0.15415400000000001</c:v>
                </c:pt>
                <c:pt idx="447">
                  <c:v>5.7110000000000001E-2</c:v>
                </c:pt>
                <c:pt idx="448">
                  <c:v>0.11634799999999999</c:v>
                </c:pt>
                <c:pt idx="449">
                  <c:v>0.173345</c:v>
                </c:pt>
                <c:pt idx="450">
                  <c:v>0.12024899999999999</c:v>
                </c:pt>
                <c:pt idx="451">
                  <c:v>9.2010999999999996E-2</c:v>
                </c:pt>
                <c:pt idx="452">
                  <c:v>7.8451000000000007E-2</c:v>
                </c:pt>
                <c:pt idx="453">
                  <c:v>-1.7408E-2</c:v>
                </c:pt>
                <c:pt idx="454">
                  <c:v>-8.5405999999999996E-2</c:v>
                </c:pt>
                <c:pt idx="455">
                  <c:v>-6.9662000000000002E-2</c:v>
                </c:pt>
                <c:pt idx="456">
                  <c:v>-0.10205699999999999</c:v>
                </c:pt>
                <c:pt idx="457">
                  <c:v>-0.16245699999999999</c:v>
                </c:pt>
                <c:pt idx="458">
                  <c:v>-0.105252</c:v>
                </c:pt>
                <c:pt idx="459">
                  <c:v>-6.2614000000000003E-2</c:v>
                </c:pt>
                <c:pt idx="460">
                  <c:v>-0.15654999999999999</c:v>
                </c:pt>
                <c:pt idx="461">
                  <c:v>-0.22691</c:v>
                </c:pt>
                <c:pt idx="462">
                  <c:v>-0.24182300000000001</c:v>
                </c:pt>
                <c:pt idx="463">
                  <c:v>-0.29297600000000001</c:v>
                </c:pt>
                <c:pt idx="464">
                  <c:v>-0.31246400000000002</c:v>
                </c:pt>
                <c:pt idx="465">
                  <c:v>-0.29704900000000001</c:v>
                </c:pt>
                <c:pt idx="466">
                  <c:v>-0.27398800000000001</c:v>
                </c:pt>
                <c:pt idx="467">
                  <c:v>-0.32896300000000001</c:v>
                </c:pt>
                <c:pt idx="468">
                  <c:v>-0.36316999999999999</c:v>
                </c:pt>
                <c:pt idx="469">
                  <c:v>-0.35487099999999999</c:v>
                </c:pt>
                <c:pt idx="470">
                  <c:v>-0.36001499999999997</c:v>
                </c:pt>
                <c:pt idx="471">
                  <c:v>-0.36364099999999999</c:v>
                </c:pt>
                <c:pt idx="472">
                  <c:v>-0.32800400000000002</c:v>
                </c:pt>
                <c:pt idx="473">
                  <c:v>-0.304782</c:v>
                </c:pt>
                <c:pt idx="474">
                  <c:v>-0.35716100000000001</c:v>
                </c:pt>
                <c:pt idx="475">
                  <c:v>-0.40301199999999998</c:v>
                </c:pt>
                <c:pt idx="476">
                  <c:v>-0.41436899999999999</c:v>
                </c:pt>
                <c:pt idx="477">
                  <c:v>-0.41376299999999999</c:v>
                </c:pt>
                <c:pt idx="478">
                  <c:v>-0.41503200000000001</c:v>
                </c:pt>
                <c:pt idx="479">
                  <c:v>-0.45341100000000001</c:v>
                </c:pt>
                <c:pt idx="480">
                  <c:v>-0.46395599999999998</c:v>
                </c:pt>
                <c:pt idx="481">
                  <c:v>-0.51033600000000001</c:v>
                </c:pt>
                <c:pt idx="482">
                  <c:v>-0.52534700000000001</c:v>
                </c:pt>
                <c:pt idx="483">
                  <c:v>-0.49275999999999998</c:v>
                </c:pt>
                <c:pt idx="484">
                  <c:v>-0.47705900000000001</c:v>
                </c:pt>
                <c:pt idx="485">
                  <c:v>-0.39734799999999998</c:v>
                </c:pt>
                <c:pt idx="486">
                  <c:v>-0.19624900000000001</c:v>
                </c:pt>
                <c:pt idx="487">
                  <c:v>-0.122572</c:v>
                </c:pt>
                <c:pt idx="488">
                  <c:v>-0.21105299999999999</c:v>
                </c:pt>
                <c:pt idx="489">
                  <c:v>-0.18832199999999999</c:v>
                </c:pt>
                <c:pt idx="490">
                  <c:v>-4.5513999999999999E-2</c:v>
                </c:pt>
                <c:pt idx="491">
                  <c:v>2.9111999999999999E-2</c:v>
                </c:pt>
                <c:pt idx="492">
                  <c:v>8.8648000000000005E-2</c:v>
                </c:pt>
                <c:pt idx="493">
                  <c:v>0.133523</c:v>
                </c:pt>
                <c:pt idx="494">
                  <c:v>0.17454600000000001</c:v>
                </c:pt>
                <c:pt idx="495">
                  <c:v>-8.0350000000000005E-3</c:v>
                </c:pt>
                <c:pt idx="496">
                  <c:v>-0.13655</c:v>
                </c:pt>
                <c:pt idx="497">
                  <c:v>-0.13580700000000001</c:v>
                </c:pt>
                <c:pt idx="498">
                  <c:v>-9.4490000000000005E-2</c:v>
                </c:pt>
                <c:pt idx="499">
                  <c:v>-1.2511E-2</c:v>
                </c:pt>
                <c:pt idx="500">
                  <c:v>0.142818</c:v>
                </c:pt>
                <c:pt idx="501">
                  <c:v>0.243671</c:v>
                </c:pt>
                <c:pt idx="502">
                  <c:v>0.17489399999999999</c:v>
                </c:pt>
                <c:pt idx="503">
                  <c:v>0.33377800000000002</c:v>
                </c:pt>
                <c:pt idx="504">
                  <c:v>0.61918300000000004</c:v>
                </c:pt>
                <c:pt idx="505">
                  <c:v>0.813392</c:v>
                </c:pt>
                <c:pt idx="506">
                  <c:v>0.91203699999999999</c:v>
                </c:pt>
                <c:pt idx="507">
                  <c:v>1.1002559999999999</c:v>
                </c:pt>
                <c:pt idx="508">
                  <c:v>1.1985870000000001</c:v>
                </c:pt>
                <c:pt idx="509">
                  <c:v>0.83133400000000002</c:v>
                </c:pt>
                <c:pt idx="510">
                  <c:v>0.60278399999999999</c:v>
                </c:pt>
                <c:pt idx="511">
                  <c:v>0.52867799999999998</c:v>
                </c:pt>
                <c:pt idx="512">
                  <c:v>0.56457000000000002</c:v>
                </c:pt>
                <c:pt idx="513">
                  <c:v>0.46248699999999998</c:v>
                </c:pt>
                <c:pt idx="514">
                  <c:v>0.57845999999999997</c:v>
                </c:pt>
                <c:pt idx="515">
                  <c:v>0.57677900000000004</c:v>
                </c:pt>
                <c:pt idx="516">
                  <c:v>0.421319</c:v>
                </c:pt>
                <c:pt idx="517">
                  <c:v>0.265017</c:v>
                </c:pt>
                <c:pt idx="518">
                  <c:v>0.16895199999999999</c:v>
                </c:pt>
                <c:pt idx="519">
                  <c:v>7.7344999999999997E-2</c:v>
                </c:pt>
                <c:pt idx="520">
                  <c:v>-8.8489999999999992E-3</c:v>
                </c:pt>
                <c:pt idx="521">
                  <c:v>-4.2774E-2</c:v>
                </c:pt>
                <c:pt idx="522">
                  <c:v>-3.0578999999999999E-2</c:v>
                </c:pt>
                <c:pt idx="523">
                  <c:v>-0.146976</c:v>
                </c:pt>
                <c:pt idx="524">
                  <c:v>-0.22176299999999999</c:v>
                </c:pt>
                <c:pt idx="525">
                  <c:v>-0.28901300000000002</c:v>
                </c:pt>
                <c:pt idx="526">
                  <c:v>-0.30605900000000003</c:v>
                </c:pt>
                <c:pt idx="527">
                  <c:v>-0.34549400000000002</c:v>
                </c:pt>
                <c:pt idx="528">
                  <c:v>-0.2989</c:v>
                </c:pt>
                <c:pt idx="529">
                  <c:v>-0.32046200000000002</c:v>
                </c:pt>
                <c:pt idx="530">
                  <c:v>-0.35569899999999999</c:v>
                </c:pt>
                <c:pt idx="531">
                  <c:v>-0.41078500000000001</c:v>
                </c:pt>
                <c:pt idx="532">
                  <c:v>-0.39721200000000001</c:v>
                </c:pt>
                <c:pt idx="533">
                  <c:v>-0.39994600000000002</c:v>
                </c:pt>
                <c:pt idx="534">
                  <c:v>-0.39252900000000002</c:v>
                </c:pt>
                <c:pt idx="535">
                  <c:v>-0.37369999999999998</c:v>
                </c:pt>
                <c:pt idx="536">
                  <c:v>-0.325376</c:v>
                </c:pt>
                <c:pt idx="537">
                  <c:v>-0.38277499999999998</c:v>
                </c:pt>
                <c:pt idx="538">
                  <c:v>-0.40280700000000003</c:v>
                </c:pt>
                <c:pt idx="539">
                  <c:v>-0.40154600000000001</c:v>
                </c:pt>
                <c:pt idx="540">
                  <c:v>-0.38022499999999998</c:v>
                </c:pt>
                <c:pt idx="541">
                  <c:v>-0.37072300000000002</c:v>
                </c:pt>
                <c:pt idx="542">
                  <c:v>-0.31648500000000002</c:v>
                </c:pt>
                <c:pt idx="543">
                  <c:v>-0.29921799999999998</c:v>
                </c:pt>
                <c:pt idx="544">
                  <c:v>-0.36836999999999998</c:v>
                </c:pt>
                <c:pt idx="545">
                  <c:v>-0.38853900000000002</c:v>
                </c:pt>
                <c:pt idx="546">
                  <c:v>-0.34001300000000001</c:v>
                </c:pt>
                <c:pt idx="547">
                  <c:v>-0.31861299999999998</c:v>
                </c:pt>
                <c:pt idx="548">
                  <c:v>-0.30066399999999999</c:v>
                </c:pt>
                <c:pt idx="549">
                  <c:v>-0.22634000000000001</c:v>
                </c:pt>
                <c:pt idx="550">
                  <c:v>-0.18360399999999999</c:v>
                </c:pt>
                <c:pt idx="551">
                  <c:v>-0.2939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C8-4E7B-83D3-5242563E84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R_nyni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53</c:f>
              <c:numCache>
                <c:formatCode>m/d/yyyy</c:formatCode>
                <c:ptCount val="55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</c:numCache>
            </c:numRef>
          </c:cat>
          <c:val>
            <c:numRef>
              <c:f>Sheet1!$B$2:$B$553</c:f>
              <c:numCache>
                <c:formatCode>#\ ##0.0</c:formatCode>
                <c:ptCount val="552"/>
                <c:pt idx="0">
                  <c:v>1.148775055679</c:v>
                </c:pt>
                <c:pt idx="1">
                  <c:v>1.271582733812</c:v>
                </c:pt>
                <c:pt idx="2">
                  <c:v>1.3649350649350001</c:v>
                </c:pt>
                <c:pt idx="3">
                  <c:v>1.414863209473</c:v>
                </c:pt>
                <c:pt idx="4">
                  <c:v>1.4918233851180001</c:v>
                </c:pt>
                <c:pt idx="5">
                  <c:v>1.4672353625429999</c:v>
                </c:pt>
                <c:pt idx="6">
                  <c:v>1.4458981612440001</c:v>
                </c:pt>
                <c:pt idx="7">
                  <c:v>1.5074532191559999</c:v>
                </c:pt>
                <c:pt idx="8">
                  <c:v>1.519769119769</c:v>
                </c:pt>
                <c:pt idx="9">
                  <c:v>1.6371608659900001</c:v>
                </c:pt>
                <c:pt idx="10">
                  <c:v>1.74920718816</c:v>
                </c:pt>
                <c:pt idx="11">
                  <c:v>1.8713621912439999</c:v>
                </c:pt>
                <c:pt idx="12">
                  <c:v>1.690090469177</c:v>
                </c:pt>
                <c:pt idx="13">
                  <c:v>1.6141283706789999</c:v>
                </c:pt>
                <c:pt idx="14">
                  <c:v>1.5090391697350001</c:v>
                </c:pt>
                <c:pt idx="15">
                  <c:v>1.5092914337509999</c:v>
                </c:pt>
                <c:pt idx="16">
                  <c:v>1.533193936225</c:v>
                </c:pt>
                <c:pt idx="17">
                  <c:v>1.543383542885</c:v>
                </c:pt>
                <c:pt idx="18">
                  <c:v>1.5183529411759999</c:v>
                </c:pt>
                <c:pt idx="19">
                  <c:v>1.4530227398769999</c:v>
                </c:pt>
                <c:pt idx="20">
                  <c:v>1.356156156156</c:v>
                </c:pt>
                <c:pt idx="21">
                  <c:v>1.2153937947489999</c:v>
                </c:pt>
                <c:pt idx="22">
                  <c:v>1.1639780609770001</c:v>
                </c:pt>
                <c:pt idx="23">
                  <c:v>1.101193243452</c:v>
                </c:pt>
                <c:pt idx="24">
                  <c:v>1.1488663256730001</c:v>
                </c:pt>
                <c:pt idx="25">
                  <c:v>1.106067316209</c:v>
                </c:pt>
                <c:pt idx="26">
                  <c:v>1.0734273090669999</c:v>
                </c:pt>
                <c:pt idx="27">
                  <c:v>1.047259372184</c:v>
                </c:pt>
                <c:pt idx="28">
                  <c:v>1.0334928229660001</c:v>
                </c:pt>
                <c:pt idx="29">
                  <c:v>1.0172104458760001</c:v>
                </c:pt>
                <c:pt idx="30">
                  <c:v>1.0613947280610001</c:v>
                </c:pt>
                <c:pt idx="31">
                  <c:v>1.09466875735</c:v>
                </c:pt>
                <c:pt idx="32">
                  <c:v>1.1465625620319999</c:v>
                </c:pt>
                <c:pt idx="33">
                  <c:v>1.2162309368190001</c:v>
                </c:pt>
                <c:pt idx="34">
                  <c:v>1.2867128298920001</c:v>
                </c:pt>
                <c:pt idx="35">
                  <c:v>1.395347375039</c:v>
                </c:pt>
                <c:pt idx="36">
                  <c:v>1.4684571769620001</c:v>
                </c:pt>
                <c:pt idx="37">
                  <c:v>1.529028162511</c:v>
                </c:pt>
                <c:pt idx="38">
                  <c:v>1.7531347962379999</c:v>
                </c:pt>
                <c:pt idx="39">
                  <c:v>1.695740468091</c:v>
                </c:pt>
                <c:pt idx="40">
                  <c:v>1.5619339431349999</c:v>
                </c:pt>
                <c:pt idx="41">
                  <c:v>1.4572427247599999</c:v>
                </c:pt>
                <c:pt idx="42">
                  <c:v>1.499150783166</c:v>
                </c:pt>
                <c:pt idx="43">
                  <c:v>1.402643846988</c:v>
                </c:pt>
                <c:pt idx="44">
                  <c:v>1.4448070417050001</c:v>
                </c:pt>
                <c:pt idx="45">
                  <c:v>1.4638818370640001</c:v>
                </c:pt>
                <c:pt idx="46">
                  <c:v>1.5289786355770001</c:v>
                </c:pt>
                <c:pt idx="47">
                  <c:v>1.429380664652</c:v>
                </c:pt>
                <c:pt idx="48">
                  <c:v>1.3783008559459999</c:v>
                </c:pt>
                <c:pt idx="49">
                  <c:v>1.3304944257939999</c:v>
                </c:pt>
                <c:pt idx="50">
                  <c:v>1.372260759892</c:v>
                </c:pt>
                <c:pt idx="51">
                  <c:v>1.351112732579</c:v>
                </c:pt>
                <c:pt idx="52">
                  <c:v>1.3775781594009999</c:v>
                </c:pt>
                <c:pt idx="53">
                  <c:v>1.353879694777</c:v>
                </c:pt>
                <c:pt idx="54">
                  <c:v>1.311585964147</c:v>
                </c:pt>
                <c:pt idx="55">
                  <c:v>1.2409024327189999</c:v>
                </c:pt>
                <c:pt idx="56">
                  <c:v>1.2163282389150001</c:v>
                </c:pt>
                <c:pt idx="57">
                  <c:v>1.126387255152</c:v>
                </c:pt>
                <c:pt idx="58">
                  <c:v>1.0612038256959999</c:v>
                </c:pt>
                <c:pt idx="59">
                  <c:v>1.0134539797890001</c:v>
                </c:pt>
                <c:pt idx="60">
                  <c:v>0.97560439306000002</c:v>
                </c:pt>
                <c:pt idx="61">
                  <c:v>0.92741783307900005</c:v>
                </c:pt>
                <c:pt idx="62">
                  <c:v>0.93668342849300001</c:v>
                </c:pt>
                <c:pt idx="63">
                  <c:v>0.907494050971</c:v>
                </c:pt>
                <c:pt idx="64">
                  <c:v>0.95717432568600003</c:v>
                </c:pt>
                <c:pt idx="65">
                  <c:v>0.97125775494900002</c:v>
                </c:pt>
                <c:pt idx="66">
                  <c:v>0.95532123707299998</c:v>
                </c:pt>
                <c:pt idx="67">
                  <c:v>0.92235727529400002</c:v>
                </c:pt>
                <c:pt idx="68">
                  <c:v>0.92690836310199998</c:v>
                </c:pt>
                <c:pt idx="69">
                  <c:v>0.856630473369</c:v>
                </c:pt>
                <c:pt idx="70">
                  <c:v>0.81763110969899999</c:v>
                </c:pt>
                <c:pt idx="71">
                  <c:v>0.75344216289300003</c:v>
                </c:pt>
                <c:pt idx="72">
                  <c:v>0.71967626655399997</c:v>
                </c:pt>
                <c:pt idx="73">
                  <c:v>0.69135734980499997</c:v>
                </c:pt>
                <c:pt idx="74">
                  <c:v>0.67253033052699995</c:v>
                </c:pt>
                <c:pt idx="75">
                  <c:v>0.67730708332</c:v>
                </c:pt>
                <c:pt idx="76">
                  <c:v>0.74357737907099997</c:v>
                </c:pt>
                <c:pt idx="77">
                  <c:v>0.72854899956100005</c:v>
                </c:pt>
                <c:pt idx="78">
                  <c:v>0.72155451885800004</c:v>
                </c:pt>
                <c:pt idx="79">
                  <c:v>0.745766313239</c:v>
                </c:pt>
                <c:pt idx="80">
                  <c:v>0.73989369913699998</c:v>
                </c:pt>
                <c:pt idx="81">
                  <c:v>0.72776063330200003</c:v>
                </c:pt>
                <c:pt idx="82">
                  <c:v>0.80589871451100004</c:v>
                </c:pt>
                <c:pt idx="83">
                  <c:v>0.85247383705000002</c:v>
                </c:pt>
                <c:pt idx="84">
                  <c:v>0.93258875149499998</c:v>
                </c:pt>
                <c:pt idx="85">
                  <c:v>0.95821037884799998</c:v>
                </c:pt>
                <c:pt idx="86">
                  <c:v>0.91340953785599999</c:v>
                </c:pt>
                <c:pt idx="87">
                  <c:v>0.88243524766000003</c:v>
                </c:pt>
                <c:pt idx="88">
                  <c:v>0.89523411639899997</c:v>
                </c:pt>
                <c:pt idx="89">
                  <c:v>0.83780398386800004</c:v>
                </c:pt>
                <c:pt idx="90">
                  <c:v>0.82797772731499997</c:v>
                </c:pt>
                <c:pt idx="91">
                  <c:v>0.87253582722099998</c:v>
                </c:pt>
                <c:pt idx="92">
                  <c:v>0.900951374207</c:v>
                </c:pt>
                <c:pt idx="93">
                  <c:v>0.93850737695999997</c:v>
                </c:pt>
                <c:pt idx="94">
                  <c:v>0.96371658826499995</c:v>
                </c:pt>
                <c:pt idx="95">
                  <c:v>1.0171319081779999</c:v>
                </c:pt>
                <c:pt idx="96">
                  <c:v>1.045263523152</c:v>
                </c:pt>
                <c:pt idx="97">
                  <c:v>1.0868238883020001</c:v>
                </c:pt>
                <c:pt idx="98">
                  <c:v>1.088701040391</c:v>
                </c:pt>
                <c:pt idx="99">
                  <c:v>1.147230210382</c:v>
                </c:pt>
                <c:pt idx="100">
                  <c:v>1.1661433900930001</c:v>
                </c:pt>
                <c:pt idx="101">
                  <c:v>1.2184722068530001</c:v>
                </c:pt>
                <c:pt idx="102">
                  <c:v>1.201050775486</c:v>
                </c:pt>
                <c:pt idx="103">
                  <c:v>1.203738186417</c:v>
                </c:pt>
                <c:pt idx="104">
                  <c:v>1.160658333058</c:v>
                </c:pt>
                <c:pt idx="105">
                  <c:v>1.1798485952290001</c:v>
                </c:pt>
                <c:pt idx="106">
                  <c:v>1.1834776291089999</c:v>
                </c:pt>
                <c:pt idx="107">
                  <c:v>1.2235139022049999</c:v>
                </c:pt>
                <c:pt idx="108">
                  <c:v>1.2691027961000001</c:v>
                </c:pt>
                <c:pt idx="109">
                  <c:v>1.2840295538499999</c:v>
                </c:pt>
                <c:pt idx="110">
                  <c:v>1.251201374533</c:v>
                </c:pt>
                <c:pt idx="111">
                  <c:v>1.2636398516430001</c:v>
                </c:pt>
                <c:pt idx="112">
                  <c:v>1.2841610343809999</c:v>
                </c:pt>
                <c:pt idx="113">
                  <c:v>1.342026585713</c:v>
                </c:pt>
                <c:pt idx="114">
                  <c:v>1.219829589465</c:v>
                </c:pt>
                <c:pt idx="115">
                  <c:v>1.050122301849</c:v>
                </c:pt>
                <c:pt idx="116">
                  <c:v>0.94388891137999997</c:v>
                </c:pt>
                <c:pt idx="117">
                  <c:v>0.89645308924400002</c:v>
                </c:pt>
                <c:pt idx="118">
                  <c:v>0.85755903622700003</c:v>
                </c:pt>
                <c:pt idx="119">
                  <c:v>1.0093798759020001</c:v>
                </c:pt>
                <c:pt idx="120">
                  <c:v>1.1969678394829999</c:v>
                </c:pt>
                <c:pt idx="121">
                  <c:v>1.448380870684</c:v>
                </c:pt>
                <c:pt idx="122">
                  <c:v>1.4532439906400001</c:v>
                </c:pt>
                <c:pt idx="123">
                  <c:v>1.4042604212459999</c:v>
                </c:pt>
                <c:pt idx="124">
                  <c:v>1.3079536263139999</c:v>
                </c:pt>
                <c:pt idx="125">
                  <c:v>1.2762452630500001</c:v>
                </c:pt>
                <c:pt idx="126">
                  <c:v>1.1206431934609999</c:v>
                </c:pt>
                <c:pt idx="127">
                  <c:v>1.118813765241</c:v>
                </c:pt>
                <c:pt idx="128">
                  <c:v>1.111210724043</c:v>
                </c:pt>
                <c:pt idx="129">
                  <c:v>1.2065193491640001</c:v>
                </c:pt>
                <c:pt idx="130">
                  <c:v>1.220878753427</c:v>
                </c:pt>
                <c:pt idx="131">
                  <c:v>1.180152207805</c:v>
                </c:pt>
                <c:pt idx="132">
                  <c:v>1.122039929874</c:v>
                </c:pt>
                <c:pt idx="133">
                  <c:v>1.013344090565</c:v>
                </c:pt>
                <c:pt idx="134">
                  <c:v>0.82248621805</c:v>
                </c:pt>
                <c:pt idx="135">
                  <c:v>0.71590398667800004</c:v>
                </c:pt>
                <c:pt idx="136">
                  <c:v>0.68884136989</c:v>
                </c:pt>
                <c:pt idx="137">
                  <c:v>0.67978825120599995</c:v>
                </c:pt>
                <c:pt idx="138">
                  <c:v>0.71548989624500003</c:v>
                </c:pt>
                <c:pt idx="139">
                  <c:v>0.75985653155300004</c:v>
                </c:pt>
                <c:pt idx="140">
                  <c:v>0.82135369642</c:v>
                </c:pt>
                <c:pt idx="141">
                  <c:v>0.82830581198800002</c:v>
                </c:pt>
                <c:pt idx="142">
                  <c:v>0.86495711835300004</c:v>
                </c:pt>
                <c:pt idx="143">
                  <c:v>0.87561819980199995</c:v>
                </c:pt>
                <c:pt idx="144">
                  <c:v>0.88511026061599996</c:v>
                </c:pt>
                <c:pt idx="145">
                  <c:v>0.90035958489300005</c:v>
                </c:pt>
                <c:pt idx="146">
                  <c:v>0.934718624911</c:v>
                </c:pt>
                <c:pt idx="147">
                  <c:v>0.93632379479200001</c:v>
                </c:pt>
                <c:pt idx="148">
                  <c:v>0.95856699076100005</c:v>
                </c:pt>
                <c:pt idx="149">
                  <c:v>0.98778981180199998</c:v>
                </c:pt>
                <c:pt idx="150">
                  <c:v>0.98387997930600002</c:v>
                </c:pt>
                <c:pt idx="151">
                  <c:v>0.99429015261200004</c:v>
                </c:pt>
                <c:pt idx="152">
                  <c:v>1.0068409013890001</c:v>
                </c:pt>
                <c:pt idx="153">
                  <c:v>1.0056186868679999</c:v>
                </c:pt>
                <c:pt idx="154">
                  <c:v>0.99520563650299998</c:v>
                </c:pt>
                <c:pt idx="155">
                  <c:v>1.028120136289</c:v>
                </c:pt>
                <c:pt idx="156">
                  <c:v>1.033716879552</c:v>
                </c:pt>
                <c:pt idx="157">
                  <c:v>1.0420076147999999</c:v>
                </c:pt>
                <c:pt idx="158">
                  <c:v>1.0524828928359999</c:v>
                </c:pt>
                <c:pt idx="159">
                  <c:v>1.0507927863769999</c:v>
                </c:pt>
                <c:pt idx="160">
                  <c:v>1.03778409672</c:v>
                </c:pt>
                <c:pt idx="161">
                  <c:v>1.059413422654</c:v>
                </c:pt>
                <c:pt idx="162">
                  <c:v>1.044876453488</c:v>
                </c:pt>
                <c:pt idx="163">
                  <c:v>1.0475395168499999</c:v>
                </c:pt>
                <c:pt idx="164">
                  <c:v>1.0542975601969999</c:v>
                </c:pt>
                <c:pt idx="165">
                  <c:v>1.0490045338059999</c:v>
                </c:pt>
                <c:pt idx="166">
                  <c:v>1.034161670297</c:v>
                </c:pt>
                <c:pt idx="167">
                  <c:v>1.057729090592</c:v>
                </c:pt>
                <c:pt idx="168">
                  <c:v>1.083039137531</c:v>
                </c:pt>
                <c:pt idx="169">
                  <c:v>1.104987521742</c:v>
                </c:pt>
                <c:pt idx="170">
                  <c:v>1.148583132892</c:v>
                </c:pt>
                <c:pt idx="171">
                  <c:v>1.185224540014</c:v>
                </c:pt>
                <c:pt idx="172">
                  <c:v>1.191152026595</c:v>
                </c:pt>
                <c:pt idx="173">
                  <c:v>1.1636669529100001</c:v>
                </c:pt>
                <c:pt idx="174">
                  <c:v>1.179382325263</c:v>
                </c:pt>
                <c:pt idx="175">
                  <c:v>1.180766650851</c:v>
                </c:pt>
                <c:pt idx="176">
                  <c:v>1.1802639236220001</c:v>
                </c:pt>
                <c:pt idx="177">
                  <c:v>1.195010120836</c:v>
                </c:pt>
                <c:pt idx="178">
                  <c:v>1.226746987951</c:v>
                </c:pt>
                <c:pt idx="179">
                  <c:v>1.1974785648999999</c:v>
                </c:pt>
                <c:pt idx="180">
                  <c:v>1.150986532173</c:v>
                </c:pt>
                <c:pt idx="181">
                  <c:v>1.1191897654580001</c:v>
                </c:pt>
                <c:pt idx="182">
                  <c:v>1.089915179201</c:v>
                </c:pt>
                <c:pt idx="183">
                  <c:v>1.0604007071299999</c:v>
                </c:pt>
                <c:pt idx="184">
                  <c:v>1.0472129002549999</c:v>
                </c:pt>
                <c:pt idx="185">
                  <c:v>1.0208019838919999</c:v>
                </c:pt>
                <c:pt idx="186">
                  <c:v>1.024802343303</c:v>
                </c:pt>
                <c:pt idx="187">
                  <c:v>1.006287086747</c:v>
                </c:pt>
                <c:pt idx="188">
                  <c:v>0.97021163286000001</c:v>
                </c:pt>
                <c:pt idx="189">
                  <c:v>0.95311090029800005</c:v>
                </c:pt>
                <c:pt idx="190">
                  <c:v>0.96357182447400003</c:v>
                </c:pt>
                <c:pt idx="191">
                  <c:v>0.90995387314499998</c:v>
                </c:pt>
                <c:pt idx="192">
                  <c:v>0.93741663741600001</c:v>
                </c:pt>
                <c:pt idx="193">
                  <c:v>0.93117191508599995</c:v>
                </c:pt>
                <c:pt idx="194">
                  <c:v>0.93928506402800005</c:v>
                </c:pt>
                <c:pt idx="195">
                  <c:v>0.94657805845200005</c:v>
                </c:pt>
                <c:pt idx="196">
                  <c:v>0.97068324884699997</c:v>
                </c:pt>
                <c:pt idx="197">
                  <c:v>0.91752474382399996</c:v>
                </c:pt>
                <c:pt idx="198">
                  <c:v>0.93486256167100001</c:v>
                </c:pt>
                <c:pt idx="199">
                  <c:v>0.87499838465799995</c:v>
                </c:pt>
                <c:pt idx="200">
                  <c:v>0.85559132694600004</c:v>
                </c:pt>
                <c:pt idx="201">
                  <c:v>0.85793399192300002</c:v>
                </c:pt>
                <c:pt idx="202">
                  <c:v>0.85462435215499999</c:v>
                </c:pt>
                <c:pt idx="203">
                  <c:v>0.819017984428</c:v>
                </c:pt>
                <c:pt idx="204">
                  <c:v>0.83514990400199995</c:v>
                </c:pt>
                <c:pt idx="205">
                  <c:v>0.812645449874</c:v>
                </c:pt>
                <c:pt idx="206">
                  <c:v>0.79382407506700003</c:v>
                </c:pt>
                <c:pt idx="207">
                  <c:v>0.79966892687699997</c:v>
                </c:pt>
                <c:pt idx="208">
                  <c:v>0.82992183969599997</c:v>
                </c:pt>
                <c:pt idx="209">
                  <c:v>0.85375256419300005</c:v>
                </c:pt>
                <c:pt idx="210">
                  <c:v>0.85409848259400001</c:v>
                </c:pt>
                <c:pt idx="211">
                  <c:v>0.85618263993499999</c:v>
                </c:pt>
                <c:pt idx="212">
                  <c:v>0.84860668789799998</c:v>
                </c:pt>
                <c:pt idx="213">
                  <c:v>0.78119265129899995</c:v>
                </c:pt>
                <c:pt idx="214">
                  <c:v>0.76467542151699996</c:v>
                </c:pt>
                <c:pt idx="215">
                  <c:v>0.80781624210699998</c:v>
                </c:pt>
                <c:pt idx="216">
                  <c:v>0.712461649521</c:v>
                </c:pt>
                <c:pt idx="217">
                  <c:v>0.66913730825100004</c:v>
                </c:pt>
                <c:pt idx="218">
                  <c:v>0.73087745566200002</c:v>
                </c:pt>
                <c:pt idx="219">
                  <c:v>0.74106780074199996</c:v>
                </c:pt>
                <c:pt idx="220">
                  <c:v>0.76417001320599998</c:v>
                </c:pt>
                <c:pt idx="221">
                  <c:v>0.89962636944999996</c:v>
                </c:pt>
                <c:pt idx="222">
                  <c:v>0.96277341559100005</c:v>
                </c:pt>
                <c:pt idx="223">
                  <c:v>1.056548460016</c:v>
                </c:pt>
                <c:pt idx="224">
                  <c:v>1.074822720959</c:v>
                </c:pt>
                <c:pt idx="225">
                  <c:v>0.91937361125799999</c:v>
                </c:pt>
                <c:pt idx="226">
                  <c:v>0.84640292833999997</c:v>
                </c:pt>
                <c:pt idx="227">
                  <c:v>0.81657321779600001</c:v>
                </c:pt>
                <c:pt idx="228">
                  <c:v>0.72720890582599995</c:v>
                </c:pt>
                <c:pt idx="229">
                  <c:v>0.73487502125399995</c:v>
                </c:pt>
                <c:pt idx="230">
                  <c:v>0.80853186020599999</c:v>
                </c:pt>
                <c:pt idx="231">
                  <c:v>0.82347804391199997</c:v>
                </c:pt>
                <c:pt idx="232">
                  <c:v>0.84911717495899997</c:v>
                </c:pt>
                <c:pt idx="233">
                  <c:v>0.84572242908999995</c:v>
                </c:pt>
                <c:pt idx="234">
                  <c:v>0.82294414364299995</c:v>
                </c:pt>
                <c:pt idx="235">
                  <c:v>0.83298538622100005</c:v>
                </c:pt>
                <c:pt idx="236">
                  <c:v>0.885926374791</c:v>
                </c:pt>
                <c:pt idx="237">
                  <c:v>0.88206259189199998</c:v>
                </c:pt>
                <c:pt idx="238">
                  <c:v>0.88242648257800005</c:v>
                </c:pt>
                <c:pt idx="239">
                  <c:v>0.88652083450399999</c:v>
                </c:pt>
                <c:pt idx="240">
                  <c:v>0.87514240145800004</c:v>
                </c:pt>
                <c:pt idx="241">
                  <c:v>0.85117419060599997</c:v>
                </c:pt>
                <c:pt idx="242">
                  <c:v>0.88058102154999995</c:v>
                </c:pt>
                <c:pt idx="243">
                  <c:v>0.89164716028000002</c:v>
                </c:pt>
                <c:pt idx="244">
                  <c:v>0.89413257215300002</c:v>
                </c:pt>
                <c:pt idx="245">
                  <c:v>0.86344701900499998</c:v>
                </c:pt>
                <c:pt idx="246">
                  <c:v>0.84738498627199998</c:v>
                </c:pt>
                <c:pt idx="247">
                  <c:v>0.81111411573799996</c:v>
                </c:pt>
                <c:pt idx="248">
                  <c:v>0.79191709844500002</c:v>
                </c:pt>
                <c:pt idx="249">
                  <c:v>0.78149829738900001</c:v>
                </c:pt>
                <c:pt idx="250">
                  <c:v>0.82089552238800001</c:v>
                </c:pt>
                <c:pt idx="251">
                  <c:v>0.807728781412</c:v>
                </c:pt>
                <c:pt idx="252">
                  <c:v>0.79138189698200001</c:v>
                </c:pt>
                <c:pt idx="253">
                  <c:v>0.77475355491499998</c:v>
                </c:pt>
                <c:pt idx="254">
                  <c:v>0.774509803921</c:v>
                </c:pt>
                <c:pt idx="255">
                  <c:v>0.72920110192800003</c:v>
                </c:pt>
                <c:pt idx="256">
                  <c:v>0.764015262694</c:v>
                </c:pt>
                <c:pt idx="257">
                  <c:v>0.80874144286399996</c:v>
                </c:pt>
                <c:pt idx="258">
                  <c:v>0.81803850917599996</c:v>
                </c:pt>
                <c:pt idx="259">
                  <c:v>0.79406938584099995</c:v>
                </c:pt>
                <c:pt idx="260">
                  <c:v>0.79171388993799996</c:v>
                </c:pt>
                <c:pt idx="261">
                  <c:v>0.73543347419600003</c:v>
                </c:pt>
                <c:pt idx="262">
                  <c:v>0.69852845422499998</c:v>
                </c:pt>
                <c:pt idx="263">
                  <c:v>0.70213351686100001</c:v>
                </c:pt>
                <c:pt idx="264">
                  <c:v>0.74405904059000005</c:v>
                </c:pt>
                <c:pt idx="265">
                  <c:v>0.73182758072200005</c:v>
                </c:pt>
                <c:pt idx="266">
                  <c:v>0.70659933832400001</c:v>
                </c:pt>
                <c:pt idx="267">
                  <c:v>0.71196868008900005</c:v>
                </c:pt>
                <c:pt idx="268">
                  <c:v>0.71476181140899997</c:v>
                </c:pt>
                <c:pt idx="269">
                  <c:v>0.67942868478399998</c:v>
                </c:pt>
                <c:pt idx="270">
                  <c:v>0.71962616822400005</c:v>
                </c:pt>
                <c:pt idx="271">
                  <c:v>0.79497289304999996</c:v>
                </c:pt>
                <c:pt idx="272">
                  <c:v>0.79732914375399999</c:v>
                </c:pt>
                <c:pt idx="273">
                  <c:v>0.78469555677400005</c:v>
                </c:pt>
                <c:pt idx="274">
                  <c:v>0.780145985401</c:v>
                </c:pt>
                <c:pt idx="275">
                  <c:v>0.78284506191400005</c:v>
                </c:pt>
                <c:pt idx="276">
                  <c:v>0.76379417234900004</c:v>
                </c:pt>
                <c:pt idx="277">
                  <c:v>0.78653530377600001</c:v>
                </c:pt>
                <c:pt idx="278">
                  <c:v>0.83222649423200001</c:v>
                </c:pt>
                <c:pt idx="279">
                  <c:v>0.80763473053799995</c:v>
                </c:pt>
                <c:pt idx="280">
                  <c:v>0.79513888888799999</c:v>
                </c:pt>
                <c:pt idx="281">
                  <c:v>0.79667207792200001</c:v>
                </c:pt>
                <c:pt idx="282">
                  <c:v>0.71858037578199996</c:v>
                </c:pt>
                <c:pt idx="283">
                  <c:v>0.66064678706400004</c:v>
                </c:pt>
                <c:pt idx="284">
                  <c:v>0.69369786839600001</c:v>
                </c:pt>
                <c:pt idx="285">
                  <c:v>0.69868995633099995</c:v>
                </c:pt>
                <c:pt idx="286">
                  <c:v>0.671930718288</c:v>
                </c:pt>
                <c:pt idx="287">
                  <c:v>0.66414875072599999</c:v>
                </c:pt>
                <c:pt idx="288">
                  <c:v>0.646535282898</c:v>
                </c:pt>
                <c:pt idx="289">
                  <c:v>0.65931863727399997</c:v>
                </c:pt>
                <c:pt idx="290">
                  <c:v>0.66249999999999998</c:v>
                </c:pt>
                <c:pt idx="291">
                  <c:v>0.71341925701200004</c:v>
                </c:pt>
                <c:pt idx="292">
                  <c:v>0.83814523184599998</c:v>
                </c:pt>
                <c:pt idx="293">
                  <c:v>0.88692232054999998</c:v>
                </c:pt>
                <c:pt idx="294">
                  <c:v>0.81357649442699997</c:v>
                </c:pt>
                <c:pt idx="295">
                  <c:v>0.81970649895100001</c:v>
                </c:pt>
                <c:pt idx="296">
                  <c:v>0.76089266737500005</c:v>
                </c:pt>
                <c:pt idx="297">
                  <c:v>0.73068893528099998</c:v>
                </c:pt>
                <c:pt idx="298">
                  <c:v>0.77937915742700004</c:v>
                </c:pt>
                <c:pt idx="299">
                  <c:v>0.87546699875400003</c:v>
                </c:pt>
                <c:pt idx="300">
                  <c:v>0.94245524296600003</c:v>
                </c:pt>
                <c:pt idx="301">
                  <c:v>1.100558659217</c:v>
                </c:pt>
                <c:pt idx="302">
                  <c:v>1.162857142857</c:v>
                </c:pt>
                <c:pt idx="303">
                  <c:v>1.2603129445229999</c:v>
                </c:pt>
                <c:pt idx="304">
                  <c:v>1.30867709815</c:v>
                </c:pt>
                <c:pt idx="305">
                  <c:v>1.327001356852</c:v>
                </c:pt>
                <c:pt idx="306">
                  <c:v>1.3045685279179999</c:v>
                </c:pt>
                <c:pt idx="307">
                  <c:v>1.2309582309580001</c:v>
                </c:pt>
                <c:pt idx="308">
                  <c:v>1.0722347629789999</c:v>
                </c:pt>
                <c:pt idx="309">
                  <c:v>1.1869565217389999</c:v>
                </c:pt>
                <c:pt idx="310">
                  <c:v>1.2075664621669999</c:v>
                </c:pt>
                <c:pt idx="311">
                  <c:v>1.264591439688</c:v>
                </c:pt>
                <c:pt idx="312">
                  <c:v>1.335329341317</c:v>
                </c:pt>
                <c:pt idx="313">
                  <c:v>1.46</c:v>
                </c:pt>
                <c:pt idx="314">
                  <c:v>1.3727106227100001</c:v>
                </c:pt>
                <c:pt idx="315">
                  <c:v>1.4487722269259999</c:v>
                </c:pt>
                <c:pt idx="316">
                  <c:v>1.29923076923</c:v>
                </c:pt>
                <c:pt idx="317">
                  <c:v>1.2331838565019999</c:v>
                </c:pt>
                <c:pt idx="318">
                  <c:v>1.160057678442</c:v>
                </c:pt>
                <c:pt idx="319">
                  <c:v>1.0960640426949999</c:v>
                </c:pt>
                <c:pt idx="320">
                  <c:v>0.936294564582</c:v>
                </c:pt>
                <c:pt idx="321">
                  <c:v>0.93664890467700002</c:v>
                </c:pt>
                <c:pt idx="322">
                  <c:v>0.94484848484799999</c:v>
                </c:pt>
                <c:pt idx="323">
                  <c:v>0.95338719701600005</c:v>
                </c:pt>
                <c:pt idx="324">
                  <c:v>0.92878880097299998</c:v>
                </c:pt>
                <c:pt idx="325">
                  <c:v>0.91760299625399999</c:v>
                </c:pt>
                <c:pt idx="326">
                  <c:v>0.88495575221199996</c:v>
                </c:pt>
                <c:pt idx="327">
                  <c:v>0.874919820397</c:v>
                </c:pt>
                <c:pt idx="328">
                  <c:v>0.87483702737900004</c:v>
                </c:pt>
                <c:pt idx="329">
                  <c:v>0.85058977719499995</c:v>
                </c:pt>
                <c:pt idx="330">
                  <c:v>0.86122448979499999</c:v>
                </c:pt>
                <c:pt idx="331">
                  <c:v>0.90071428571400003</c:v>
                </c:pt>
                <c:pt idx="332">
                  <c:v>0.88856304985300005</c:v>
                </c:pt>
                <c:pt idx="333">
                  <c:v>0.89567809239899998</c:v>
                </c:pt>
                <c:pt idx="334">
                  <c:v>0.922958397534</c:v>
                </c:pt>
                <c:pt idx="335">
                  <c:v>0.90916271721899999</c:v>
                </c:pt>
                <c:pt idx="336">
                  <c:v>0.90166534496399997</c:v>
                </c:pt>
                <c:pt idx="337">
                  <c:v>0.94471947194700001</c:v>
                </c:pt>
                <c:pt idx="338">
                  <c:v>0.91763727121399996</c:v>
                </c:pt>
                <c:pt idx="339">
                  <c:v>0.95325542570900001</c:v>
                </c:pt>
                <c:pt idx="340">
                  <c:v>1.02606429192</c:v>
                </c:pt>
                <c:pt idx="341">
                  <c:v>1.06508355321</c:v>
                </c:pt>
                <c:pt idx="342">
                  <c:v>1.077729257641</c:v>
                </c:pt>
                <c:pt idx="343">
                  <c:v>1.135992747053</c:v>
                </c:pt>
                <c:pt idx="344">
                  <c:v>1.106830122591</c:v>
                </c:pt>
                <c:pt idx="345">
                  <c:v>1.0914479254859999</c:v>
                </c:pt>
                <c:pt idx="346">
                  <c:v>1.100743187448</c:v>
                </c:pt>
                <c:pt idx="347">
                  <c:v>1.0688816855750001</c:v>
                </c:pt>
                <c:pt idx="348">
                  <c:v>1.0287310454900001</c:v>
                </c:pt>
                <c:pt idx="349">
                  <c:v>1.0514240506320001</c:v>
                </c:pt>
                <c:pt idx="350">
                  <c:v>1.061287820015</c:v>
                </c:pt>
                <c:pt idx="351">
                  <c:v>1.0180045011250001</c:v>
                </c:pt>
                <c:pt idx="352">
                  <c:v>1.010614101592</c:v>
                </c:pt>
                <c:pt idx="353">
                  <c:v>0.99379363847900004</c:v>
                </c:pt>
                <c:pt idx="354">
                  <c:v>0.95861550037599996</c:v>
                </c:pt>
                <c:pt idx="355">
                  <c:v>0.95321637426899997</c:v>
                </c:pt>
                <c:pt idx="356">
                  <c:v>0.95946941783299999</c:v>
                </c:pt>
                <c:pt idx="357">
                  <c:v>0.94148537134200005</c:v>
                </c:pt>
                <c:pt idx="358">
                  <c:v>1.0117096018730001</c:v>
                </c:pt>
                <c:pt idx="359">
                  <c:v>1.0549450549449999</c:v>
                </c:pt>
                <c:pt idx="360">
                  <c:v>1.039877300613</c:v>
                </c:pt>
                <c:pt idx="361">
                  <c:v>1.039938556067</c:v>
                </c:pt>
                <c:pt idx="362">
                  <c:v>1.0581673306770001</c:v>
                </c:pt>
                <c:pt idx="363">
                  <c:v>1.0455246913580001</c:v>
                </c:pt>
                <c:pt idx="364">
                  <c:v>1.036458333333</c:v>
                </c:pt>
                <c:pt idx="365">
                  <c:v>1.0361356932150001</c:v>
                </c:pt>
                <c:pt idx="366">
                  <c:v>1.105612998522</c:v>
                </c:pt>
                <c:pt idx="367">
                  <c:v>1.222891566265</c:v>
                </c:pt>
                <c:pt idx="368">
                  <c:v>1.253136531365</c:v>
                </c:pt>
                <c:pt idx="369">
                  <c:v>1.2620244077530001</c:v>
                </c:pt>
                <c:pt idx="370">
                  <c:v>1.359430604982</c:v>
                </c:pt>
                <c:pt idx="371">
                  <c:v>1.4709418837670001</c:v>
                </c:pt>
                <c:pt idx="372">
                  <c:v>1.429802955665</c:v>
                </c:pt>
                <c:pt idx="373">
                  <c:v>1.4346289752650001</c:v>
                </c:pt>
                <c:pt idx="374">
                  <c:v>1.4624573378829999</c:v>
                </c:pt>
                <c:pt idx="375">
                  <c:v>1.369109947643</c:v>
                </c:pt>
                <c:pt idx="376">
                  <c:v>1.1857402361480001</c:v>
                </c:pt>
                <c:pt idx="377">
                  <c:v>1.1683893195520001</c:v>
                </c:pt>
                <c:pt idx="378">
                  <c:v>1.10303776683</c:v>
                </c:pt>
                <c:pt idx="379">
                  <c:v>1.1003500583429999</c:v>
                </c:pt>
                <c:pt idx="380">
                  <c:v>1.136137667304</c:v>
                </c:pt>
                <c:pt idx="381">
                  <c:v>1.1390271926460001</c:v>
                </c:pt>
                <c:pt idx="382">
                  <c:v>1.115001842978</c:v>
                </c:pt>
                <c:pt idx="383">
                  <c:v>1.144771120208</c:v>
                </c:pt>
                <c:pt idx="384">
                  <c:v>1.082361258395</c:v>
                </c:pt>
                <c:pt idx="385">
                  <c:v>1.0440928980140001</c:v>
                </c:pt>
                <c:pt idx="386">
                  <c:v>1.0427034297240001</c:v>
                </c:pt>
                <c:pt idx="387">
                  <c:v>0.99933884297499997</c:v>
                </c:pt>
                <c:pt idx="388">
                  <c:v>1.010403120936</c:v>
                </c:pt>
                <c:pt idx="389">
                  <c:v>1.052906596995</c:v>
                </c:pt>
                <c:pt idx="390">
                  <c:v>1.05996131528</c:v>
                </c:pt>
                <c:pt idx="391">
                  <c:v>1.12350854563</c:v>
                </c:pt>
                <c:pt idx="392">
                  <c:v>1.1118094608</c:v>
                </c:pt>
                <c:pt idx="393">
                  <c:v>1.1492921492920001</c:v>
                </c:pt>
                <c:pt idx="394">
                  <c:v>1.243796526054</c:v>
                </c:pt>
                <c:pt idx="395">
                  <c:v>1.309610705596</c:v>
                </c:pt>
                <c:pt idx="396">
                  <c:v>1.2743972445459999</c:v>
                </c:pt>
                <c:pt idx="397">
                  <c:v>1.3406724189220001</c:v>
                </c:pt>
                <c:pt idx="398">
                  <c:v>1.3023516237399999</c:v>
                </c:pt>
                <c:pt idx="399">
                  <c:v>1.324688279301</c:v>
                </c:pt>
                <c:pt idx="400">
                  <c:v>1.3065490013929999</c:v>
                </c:pt>
                <c:pt idx="401">
                  <c:v>1.282882882882</c:v>
                </c:pt>
                <c:pt idx="402">
                  <c:v>1.3062583222369999</c:v>
                </c:pt>
                <c:pt idx="403">
                  <c:v>1.290197764402</c:v>
                </c:pt>
                <c:pt idx="404">
                  <c:v>1.1336596385540001</c:v>
                </c:pt>
                <c:pt idx="405">
                  <c:v>1.163348738002</c:v>
                </c:pt>
                <c:pt idx="406">
                  <c:v>1.2147120786509999</c:v>
                </c:pt>
                <c:pt idx="407">
                  <c:v>1.2522935779810001</c:v>
                </c:pt>
                <c:pt idx="408">
                  <c:v>1.319393535488</c:v>
                </c:pt>
                <c:pt idx="409">
                  <c:v>1.4417137163730001</c:v>
                </c:pt>
                <c:pt idx="410">
                  <c:v>1.4013750954919999</c:v>
                </c:pt>
                <c:pt idx="411">
                  <c:v>1.3918196271129999</c:v>
                </c:pt>
                <c:pt idx="412">
                  <c:v>1.4683218016549999</c:v>
                </c:pt>
                <c:pt idx="413">
                  <c:v>1.5865639600949999</c:v>
                </c:pt>
                <c:pt idx="414">
                  <c:v>1.6522690624280001</c:v>
                </c:pt>
                <c:pt idx="415">
                  <c:v>1.793610989969</c:v>
                </c:pt>
                <c:pt idx="416">
                  <c:v>1.963447559709</c:v>
                </c:pt>
                <c:pt idx="417">
                  <c:v>1.8946687609720001</c:v>
                </c:pt>
                <c:pt idx="418">
                  <c:v>1.7152180834120001</c:v>
                </c:pt>
                <c:pt idx="419">
                  <c:v>1.6241199024049999</c:v>
                </c:pt>
                <c:pt idx="420">
                  <c:v>1.601118473041</c:v>
                </c:pt>
                <c:pt idx="421">
                  <c:v>1.5297757562930001</c:v>
                </c:pt>
                <c:pt idx="422">
                  <c:v>1.4452355408169999</c:v>
                </c:pt>
                <c:pt idx="423">
                  <c:v>1.445754060324</c:v>
                </c:pt>
                <c:pt idx="424">
                  <c:v>1.4362177010899999</c:v>
                </c:pt>
                <c:pt idx="425">
                  <c:v>1.3064920273339999</c:v>
                </c:pt>
                <c:pt idx="426">
                  <c:v>1.3048573898010001</c:v>
                </c:pt>
                <c:pt idx="427">
                  <c:v>1.396713456606</c:v>
                </c:pt>
                <c:pt idx="428">
                  <c:v>1.4446655539860001</c:v>
                </c:pt>
                <c:pt idx="429">
                  <c:v>1.4687845551530001</c:v>
                </c:pt>
                <c:pt idx="430">
                  <c:v>1.5298288437500001</c:v>
                </c:pt>
                <c:pt idx="431">
                  <c:v>1.412977240812</c:v>
                </c:pt>
                <c:pt idx="432">
                  <c:v>1.2936970019080001</c:v>
                </c:pt>
                <c:pt idx="433">
                  <c:v>1.226882914907</c:v>
                </c:pt>
                <c:pt idx="434">
                  <c:v>1.218060105398</c:v>
                </c:pt>
                <c:pt idx="435">
                  <c:v>1.214755157086</c:v>
                </c:pt>
                <c:pt idx="436">
                  <c:v>1.2359272454520001</c:v>
                </c:pt>
                <c:pt idx="437">
                  <c:v>1.3242577030810001</c:v>
                </c:pt>
                <c:pt idx="438">
                  <c:v>1.3464199051100001</c:v>
                </c:pt>
                <c:pt idx="439">
                  <c:v>1.2869003073630001</c:v>
                </c:pt>
                <c:pt idx="440">
                  <c:v>1.2401957718279999</c:v>
                </c:pt>
                <c:pt idx="441">
                  <c:v>1.324038111421</c:v>
                </c:pt>
                <c:pt idx="442">
                  <c:v>1.2395013678539999</c:v>
                </c:pt>
                <c:pt idx="443">
                  <c:v>1.223396815149</c:v>
                </c:pt>
                <c:pt idx="444">
                  <c:v>1.293812224976</c:v>
                </c:pt>
                <c:pt idx="445">
                  <c:v>1.322683544942</c:v>
                </c:pt>
                <c:pt idx="446">
                  <c:v>1.231637447003</c:v>
                </c:pt>
                <c:pt idx="447">
                  <c:v>1.256456347129</c:v>
                </c:pt>
                <c:pt idx="448">
                  <c:v>1.2512037993880001</c:v>
                </c:pt>
                <c:pt idx="449">
                  <c:v>1.1804482613309999</c:v>
                </c:pt>
                <c:pt idx="450">
                  <c:v>1.2590223628770001</c:v>
                </c:pt>
                <c:pt idx="451">
                  <c:v>1.2047262408699999</c:v>
                </c:pt>
                <c:pt idx="452">
                  <c:v>1.1554056501259999</c:v>
                </c:pt>
                <c:pt idx="453">
                  <c:v>1.130214740097</c:v>
                </c:pt>
                <c:pt idx="454">
                  <c:v>1.1195903450619999</c:v>
                </c:pt>
                <c:pt idx="455">
                  <c:v>0.96792828534399999</c:v>
                </c:pt>
                <c:pt idx="456">
                  <c:v>1.0112750019300001</c:v>
                </c:pt>
                <c:pt idx="457">
                  <c:v>0.953253450153</c:v>
                </c:pt>
                <c:pt idx="458">
                  <c:v>0.92465327445699996</c:v>
                </c:pt>
                <c:pt idx="459">
                  <c:v>0.89116457022200002</c:v>
                </c:pt>
                <c:pt idx="460">
                  <c:v>0.89501967256699999</c:v>
                </c:pt>
                <c:pt idx="461">
                  <c:v>0.85823596792599999</c:v>
                </c:pt>
                <c:pt idx="462">
                  <c:v>0.90349232969899995</c:v>
                </c:pt>
                <c:pt idx="463">
                  <c:v>0.88241129981499999</c:v>
                </c:pt>
                <c:pt idx="464">
                  <c:v>0.85689217506799997</c:v>
                </c:pt>
                <c:pt idx="465">
                  <c:v>0.83296044466899999</c:v>
                </c:pt>
                <c:pt idx="466">
                  <c:v>0.83118004021799996</c:v>
                </c:pt>
                <c:pt idx="467">
                  <c:v>0.82991655975</c:v>
                </c:pt>
                <c:pt idx="468">
                  <c:v>0.83399394020200002</c:v>
                </c:pt>
                <c:pt idx="469">
                  <c:v>0.84200846968999998</c:v>
                </c:pt>
                <c:pt idx="470">
                  <c:v>0.840529225991</c:v>
                </c:pt>
                <c:pt idx="471">
                  <c:v>0.80659008917300001</c:v>
                </c:pt>
                <c:pt idx="472">
                  <c:v>0.78840439878500002</c:v>
                </c:pt>
                <c:pt idx="473">
                  <c:v>0.78608721481499999</c:v>
                </c:pt>
                <c:pt idx="474">
                  <c:v>0.80780628327799997</c:v>
                </c:pt>
                <c:pt idx="475">
                  <c:v>0.81284483834700005</c:v>
                </c:pt>
                <c:pt idx="476">
                  <c:v>0.799723940222</c:v>
                </c:pt>
                <c:pt idx="477">
                  <c:v>0.78341770039400005</c:v>
                </c:pt>
                <c:pt idx="478">
                  <c:v>0.78762335227500002</c:v>
                </c:pt>
                <c:pt idx="479">
                  <c:v>0.69096197129500003</c:v>
                </c:pt>
                <c:pt idx="480">
                  <c:v>0.65085922262999996</c:v>
                </c:pt>
                <c:pt idx="481">
                  <c:v>0.67467140201800002</c:v>
                </c:pt>
                <c:pt idx="482">
                  <c:v>0.69080839279999995</c:v>
                </c:pt>
                <c:pt idx="483">
                  <c:v>0.66701110823999998</c:v>
                </c:pt>
                <c:pt idx="484">
                  <c:v>0.73211075152799998</c:v>
                </c:pt>
                <c:pt idx="485">
                  <c:v>0.77879760275499998</c:v>
                </c:pt>
                <c:pt idx="486">
                  <c:v>0.88455956509900002</c:v>
                </c:pt>
                <c:pt idx="487">
                  <c:v>0.92411861445099996</c:v>
                </c:pt>
                <c:pt idx="488">
                  <c:v>0.99255837114000001</c:v>
                </c:pt>
                <c:pt idx="489">
                  <c:v>1.1086617358140001</c:v>
                </c:pt>
                <c:pt idx="490">
                  <c:v>1.1959584330590001</c:v>
                </c:pt>
                <c:pt idx="491">
                  <c:v>1.1318965517240001</c:v>
                </c:pt>
                <c:pt idx="492">
                  <c:v>1.1564107554980001</c:v>
                </c:pt>
                <c:pt idx="493">
                  <c:v>1.2058307087710001</c:v>
                </c:pt>
                <c:pt idx="494">
                  <c:v>1.2022515831439999</c:v>
                </c:pt>
                <c:pt idx="495">
                  <c:v>1.189791006966</c:v>
                </c:pt>
                <c:pt idx="496">
                  <c:v>1.10480799941</c:v>
                </c:pt>
                <c:pt idx="497">
                  <c:v>1.1341492738279999</c:v>
                </c:pt>
                <c:pt idx="498">
                  <c:v>1.184495192307</c:v>
                </c:pt>
                <c:pt idx="499">
                  <c:v>1.220314735336</c:v>
                </c:pt>
                <c:pt idx="500">
                  <c:v>1.3381736112580001</c:v>
                </c:pt>
                <c:pt idx="501">
                  <c:v>1.516155573839</c:v>
                </c:pt>
                <c:pt idx="502">
                  <c:v>1.5405262153620001</c:v>
                </c:pt>
                <c:pt idx="503">
                  <c:v>1.670608437731</c:v>
                </c:pt>
                <c:pt idx="504">
                  <c:v>1.8071157057080001</c:v>
                </c:pt>
                <c:pt idx="505">
                  <c:v>1.8502625298319999</c:v>
                </c:pt>
                <c:pt idx="506">
                  <c:v>1.9292314461710001</c:v>
                </c:pt>
                <c:pt idx="507">
                  <c:v>1.9945776334250001</c:v>
                </c:pt>
                <c:pt idx="508">
                  <c:v>1.798743166845</c:v>
                </c:pt>
                <c:pt idx="509">
                  <c:v>1.5692324326439999</c:v>
                </c:pt>
                <c:pt idx="510">
                  <c:v>1.459587751206</c:v>
                </c:pt>
                <c:pt idx="511">
                  <c:v>1.3750484661869999</c:v>
                </c:pt>
                <c:pt idx="512">
                  <c:v>1.445856620437</c:v>
                </c:pt>
                <c:pt idx="513">
                  <c:v>1.411886177383</c:v>
                </c:pt>
                <c:pt idx="514">
                  <c:v>1.491215103132</c:v>
                </c:pt>
                <c:pt idx="515">
                  <c:v>1.40218223809</c:v>
                </c:pt>
                <c:pt idx="516">
                  <c:v>1.3769123167849999</c:v>
                </c:pt>
                <c:pt idx="517">
                  <c:v>1.1844446141210001</c:v>
                </c:pt>
                <c:pt idx="518">
                  <c:v>1.222493583905</c:v>
                </c:pt>
                <c:pt idx="519">
                  <c:v>1.0687063943099999</c:v>
                </c:pt>
                <c:pt idx="520">
                  <c:v>1.0811015218610001</c:v>
                </c:pt>
                <c:pt idx="521">
                  <c:v>0.958628803636</c:v>
                </c:pt>
                <c:pt idx="522">
                  <c:v>0.98491124021900001</c:v>
                </c:pt>
                <c:pt idx="523">
                  <c:v>0.86374564046900004</c:v>
                </c:pt>
                <c:pt idx="524">
                  <c:v>0.90257754649599997</c:v>
                </c:pt>
                <c:pt idx="525">
                  <c:v>0.81637776914100002</c:v>
                </c:pt>
                <c:pt idx="526">
                  <c:v>0.82004733281599995</c:v>
                </c:pt>
                <c:pt idx="527">
                  <c:v>0.73943048356899999</c:v>
                </c:pt>
                <c:pt idx="528">
                  <c:v>0.75870389971200003</c:v>
                </c:pt>
                <c:pt idx="529">
                  <c:v>0.70168219089700001</c:v>
                </c:pt>
                <c:pt idx="530">
                  <c:v>0.75818599026900002</c:v>
                </c:pt>
                <c:pt idx="531">
                  <c:v>0.76167417532399995</c:v>
                </c:pt>
                <c:pt idx="532">
                  <c:v>0.773158290734</c:v>
                </c:pt>
                <c:pt idx="533">
                  <c:v>0.73309833279699999</c:v>
                </c:pt>
                <c:pt idx="534">
                  <c:v>0.74813044962200004</c:v>
                </c:pt>
                <c:pt idx="535">
                  <c:v>0.70441416551500002</c:v>
                </c:pt>
                <c:pt idx="536">
                  <c:v>0.73399232812000004</c:v>
                </c:pt>
                <c:pt idx="537">
                  <c:v>0.76225162245800004</c:v>
                </c:pt>
                <c:pt idx="538">
                  <c:v>0.78708692247400003</c:v>
                </c:pt>
                <c:pt idx="539">
                  <c:v>0.71690099954300002</c:v>
                </c:pt>
                <c:pt idx="540">
                  <c:v>0.71888620502099998</c:v>
                </c:pt>
                <c:pt idx="541">
                  <c:v>0.68661611547500001</c:v>
                </c:pt>
                <c:pt idx="542">
                  <c:v>0.66182958193300001</c:v>
                </c:pt>
                <c:pt idx="543">
                  <c:v>0.67530516618699998</c:v>
                </c:pt>
                <c:pt idx="544">
                  <c:v>0.77437006871900005</c:v>
                </c:pt>
                <c:pt idx="545">
                  <c:v>0.78885114191399996</c:v>
                </c:pt>
                <c:pt idx="546">
                  <c:v>0.81221975331600005</c:v>
                </c:pt>
                <c:pt idx="547">
                  <c:v>0.83393844844700005</c:v>
                </c:pt>
                <c:pt idx="548">
                  <c:v>0.83749502806300002</c:v>
                </c:pt>
                <c:pt idx="549">
                  <c:v>0.83639351609699997</c:v>
                </c:pt>
                <c:pt idx="550">
                  <c:v>0.86380925436900002</c:v>
                </c:pt>
                <c:pt idx="551">
                  <c:v>0.845832514252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#,##0.0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R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53</c:f>
              <c:numCache>
                <c:formatCode>m/d/yyyy</c:formatCode>
                <c:ptCount val="55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</c:numCache>
            </c:numRef>
          </c:cat>
          <c:val>
            <c:numRef>
              <c:f>Sheet1!$B$2:$B$553</c:f>
              <c:numCache>
                <c:formatCode>0%</c:formatCode>
                <c:ptCount val="552"/>
                <c:pt idx="0">
                  <c:v>-0.23227746890000001</c:v>
                </c:pt>
                <c:pt idx="1">
                  <c:v>-5.3076687579999997E-2</c:v>
                </c:pt>
                <c:pt idx="2">
                  <c:v>-5.4045002609999997E-2</c:v>
                </c:pt>
                <c:pt idx="3">
                  <c:v>6.059125018E-2</c:v>
                </c:pt>
                <c:pt idx="4">
                  <c:v>0.13978769268999999</c:v>
                </c:pt>
                <c:pt idx="5">
                  <c:v>0.1162921908</c:v>
                </c:pt>
                <c:pt idx="6">
                  <c:v>5.1874945030000001E-2</c:v>
                </c:pt>
                <c:pt idx="7">
                  <c:v>4.9699899810000003E-2</c:v>
                </c:pt>
                <c:pt idx="8">
                  <c:v>-3.512231733E-2</c:v>
                </c:pt>
                <c:pt idx="9">
                  <c:v>-4.2571746719999998E-2</c:v>
                </c:pt>
                <c:pt idx="10">
                  <c:v>7.9316806190000005E-2</c:v>
                </c:pt>
                <c:pt idx="11">
                  <c:v>0.12770434090999999</c:v>
                </c:pt>
                <c:pt idx="12">
                  <c:v>3.1630195599999999E-3</c:v>
                </c:pt>
                <c:pt idx="13">
                  <c:v>-0.13052285098999999</c:v>
                </c:pt>
                <c:pt idx="14">
                  <c:v>-0.19505997255999999</c:v>
                </c:pt>
                <c:pt idx="15">
                  <c:v>-0.21346145015000001</c:v>
                </c:pt>
                <c:pt idx="16">
                  <c:v>-0.24560077221000001</c:v>
                </c:pt>
                <c:pt idx="17">
                  <c:v>-0.28394270153000001</c:v>
                </c:pt>
                <c:pt idx="18">
                  <c:v>-0.26465176163999998</c:v>
                </c:pt>
                <c:pt idx="19">
                  <c:v>-0.23780851090999999</c:v>
                </c:pt>
                <c:pt idx="20">
                  <c:v>-0.29819985079</c:v>
                </c:pt>
                <c:pt idx="21">
                  <c:v>-0.34869370919999998</c:v>
                </c:pt>
                <c:pt idx="22">
                  <c:v>-0.41255274222999999</c:v>
                </c:pt>
                <c:pt idx="23">
                  <c:v>-0.39116107666</c:v>
                </c:pt>
                <c:pt idx="24">
                  <c:v>-0.36101618816999997</c:v>
                </c:pt>
                <c:pt idx="25">
                  <c:v>-0.32314095120000003</c:v>
                </c:pt>
                <c:pt idx="26">
                  <c:v>-0.33610406206999999</c:v>
                </c:pt>
                <c:pt idx="27">
                  <c:v>-0.34345019590999998</c:v>
                </c:pt>
                <c:pt idx="28">
                  <c:v>-0.26799457865999998</c:v>
                </c:pt>
                <c:pt idx="29">
                  <c:v>-0.27257454530000003</c:v>
                </c:pt>
                <c:pt idx="30">
                  <c:v>-0.20158766915000001</c:v>
                </c:pt>
                <c:pt idx="31">
                  <c:v>-0.15801138856999999</c:v>
                </c:pt>
                <c:pt idx="32">
                  <c:v>-4.643157824E-2</c:v>
                </c:pt>
                <c:pt idx="33">
                  <c:v>4.5342792530000002E-2</c:v>
                </c:pt>
                <c:pt idx="34">
                  <c:v>8.7470152159999995E-2</c:v>
                </c:pt>
                <c:pt idx="35">
                  <c:v>0.12591136625999999</c:v>
                </c:pt>
                <c:pt idx="36">
                  <c:v>0.17478135431</c:v>
                </c:pt>
                <c:pt idx="37">
                  <c:v>0.16307040685999999</c:v>
                </c:pt>
                <c:pt idx="38">
                  <c:v>0.38968777207999999</c:v>
                </c:pt>
                <c:pt idx="39">
                  <c:v>0.33693597445000001</c:v>
                </c:pt>
                <c:pt idx="40">
                  <c:v>9.3450538900000005E-2</c:v>
                </c:pt>
                <c:pt idx="41">
                  <c:v>-7.648637422E-2</c:v>
                </c:pt>
                <c:pt idx="42">
                  <c:v>-0.13385908655000001</c:v>
                </c:pt>
                <c:pt idx="43">
                  <c:v>-0.21657118285999999</c:v>
                </c:pt>
                <c:pt idx="44">
                  <c:v>-0.28699864953999998</c:v>
                </c:pt>
                <c:pt idx="45">
                  <c:v>-0.27268015193</c:v>
                </c:pt>
                <c:pt idx="46">
                  <c:v>-0.17500911696999999</c:v>
                </c:pt>
                <c:pt idx="47">
                  <c:v>-0.18600382102999999</c:v>
                </c:pt>
                <c:pt idx="48">
                  <c:v>-0.23238457468000001</c:v>
                </c:pt>
                <c:pt idx="49">
                  <c:v>-0.28443793010000001</c:v>
                </c:pt>
                <c:pt idx="50">
                  <c:v>-0.19897743833000001</c:v>
                </c:pt>
                <c:pt idx="51">
                  <c:v>-0.23977432733000001</c:v>
                </c:pt>
                <c:pt idx="52">
                  <c:v>-0.19685874972</c:v>
                </c:pt>
                <c:pt idx="53">
                  <c:v>-0.18933177612999999</c:v>
                </c:pt>
                <c:pt idx="54">
                  <c:v>-0.19670339850999999</c:v>
                </c:pt>
                <c:pt idx="55">
                  <c:v>-0.24845428761999999</c:v>
                </c:pt>
                <c:pt idx="56">
                  <c:v>-0.25866316207000001</c:v>
                </c:pt>
                <c:pt idx="57">
                  <c:v>-0.31786572852</c:v>
                </c:pt>
                <c:pt idx="58">
                  <c:v>-0.34865876523</c:v>
                </c:pt>
                <c:pt idx="59">
                  <c:v>-0.36550863205</c:v>
                </c:pt>
                <c:pt idx="60">
                  <c:v>-0.33832619877999998</c:v>
                </c:pt>
                <c:pt idx="61">
                  <c:v>-0.36978931695</c:v>
                </c:pt>
                <c:pt idx="62">
                  <c:v>-0.36101518613</c:v>
                </c:pt>
                <c:pt idx="63">
                  <c:v>-0.34784540917000001</c:v>
                </c:pt>
                <c:pt idx="64">
                  <c:v>-0.25986417430999997</c:v>
                </c:pt>
                <c:pt idx="65">
                  <c:v>-0.20854185449000001</c:v>
                </c:pt>
                <c:pt idx="66">
                  <c:v>-0.16867684153000001</c:v>
                </c:pt>
                <c:pt idx="67">
                  <c:v>-0.12274941882</c:v>
                </c:pt>
                <c:pt idx="68">
                  <c:v>-0.10008188828</c:v>
                </c:pt>
                <c:pt idx="69">
                  <c:v>-0.20233196828</c:v>
                </c:pt>
                <c:pt idx="70">
                  <c:v>-0.24869108249999999</c:v>
                </c:pt>
                <c:pt idx="71">
                  <c:v>-0.32261003249999998</c:v>
                </c:pt>
                <c:pt idx="72">
                  <c:v>-0.35060124863999997</c:v>
                </c:pt>
                <c:pt idx="73">
                  <c:v>-0.34013834486</c:v>
                </c:pt>
                <c:pt idx="74">
                  <c:v>-0.30388306580000002</c:v>
                </c:pt>
                <c:pt idx="75">
                  <c:v>-0.32506973275000001</c:v>
                </c:pt>
                <c:pt idx="76">
                  <c:v>-0.23144415615</c:v>
                </c:pt>
                <c:pt idx="77">
                  <c:v>-0.21370678196000001</c:v>
                </c:pt>
                <c:pt idx="78">
                  <c:v>-0.15319482833</c:v>
                </c:pt>
                <c:pt idx="79">
                  <c:v>-8.6462071749999994E-2</c:v>
                </c:pt>
                <c:pt idx="80">
                  <c:v>-1.1764351750000001E-2</c:v>
                </c:pt>
                <c:pt idx="81">
                  <c:v>4.0322779699999999E-2</c:v>
                </c:pt>
                <c:pt idx="82">
                  <c:v>6.2752537950000006E-2</c:v>
                </c:pt>
                <c:pt idx="83">
                  <c:v>4.7033005599999997E-2</c:v>
                </c:pt>
                <c:pt idx="84">
                  <c:v>0.12466659587999999</c:v>
                </c:pt>
                <c:pt idx="85">
                  <c:v>0.12803561959000001</c:v>
                </c:pt>
                <c:pt idx="86">
                  <c:v>5.0866430679999998E-2</c:v>
                </c:pt>
                <c:pt idx="87">
                  <c:v>8.9065362940000004E-2</c:v>
                </c:pt>
                <c:pt idx="88">
                  <c:v>0.17564546038000001</c:v>
                </c:pt>
                <c:pt idx="89">
                  <c:v>-8.4996070490000006E-2</c:v>
                </c:pt>
                <c:pt idx="90">
                  <c:v>-0.18268043153999999</c:v>
                </c:pt>
                <c:pt idx="91">
                  <c:v>-0.18684415007999999</c:v>
                </c:pt>
                <c:pt idx="92">
                  <c:v>-0.16493486425000001</c:v>
                </c:pt>
                <c:pt idx="93">
                  <c:v>-0.10664880295</c:v>
                </c:pt>
                <c:pt idx="94">
                  <c:v>-1.73636964E-3</c:v>
                </c:pt>
                <c:pt idx="95">
                  <c:v>9.3985468409999995E-2</c:v>
                </c:pt>
                <c:pt idx="96">
                  <c:v>0.10380583429</c:v>
                </c:pt>
                <c:pt idx="97">
                  <c:v>9.8752359809999996E-2</c:v>
                </c:pt>
                <c:pt idx="98">
                  <c:v>6.1142603660000003E-2</c:v>
                </c:pt>
                <c:pt idx="99">
                  <c:v>7.8342442639999996E-2</c:v>
                </c:pt>
                <c:pt idx="100">
                  <c:v>5.1609090599999997E-2</c:v>
                </c:pt>
                <c:pt idx="101">
                  <c:v>0.12350503777000001</c:v>
                </c:pt>
                <c:pt idx="102">
                  <c:v>0.13423340397</c:v>
                </c:pt>
                <c:pt idx="103">
                  <c:v>-4.4844926599999996E-3</c:v>
                </c:pt>
                <c:pt idx="104">
                  <c:v>-0.11791484609</c:v>
                </c:pt>
                <c:pt idx="105">
                  <c:v>-0.11565476852000001</c:v>
                </c:pt>
                <c:pt idx="106">
                  <c:v>-0.13587659118000001</c:v>
                </c:pt>
                <c:pt idx="107">
                  <c:v>-0.1232579372</c:v>
                </c:pt>
                <c:pt idx="108">
                  <c:v>-6.2208130360000002E-2</c:v>
                </c:pt>
                <c:pt idx="109">
                  <c:v>8.7040558499999997E-3</c:v>
                </c:pt>
                <c:pt idx="110">
                  <c:v>-9.7057764170000005E-2</c:v>
                </c:pt>
                <c:pt idx="111">
                  <c:v>-0.11116609450999999</c:v>
                </c:pt>
                <c:pt idx="112">
                  <c:v>-0.10919651923</c:v>
                </c:pt>
                <c:pt idx="113">
                  <c:v>-5.093966791E-2</c:v>
                </c:pt>
                <c:pt idx="114">
                  <c:v>-0.18069241773</c:v>
                </c:pt>
                <c:pt idx="115">
                  <c:v>-0.26332329430000001</c:v>
                </c:pt>
                <c:pt idx="116">
                  <c:v>-0.31661075648999998</c:v>
                </c:pt>
                <c:pt idx="117">
                  <c:v>-0.38821236105000001</c:v>
                </c:pt>
                <c:pt idx="118">
                  <c:v>-0.44450623783999998</c:v>
                </c:pt>
                <c:pt idx="119">
                  <c:v>-0.38125348465999997</c:v>
                </c:pt>
                <c:pt idx="120">
                  <c:v>-0.17037450232000001</c:v>
                </c:pt>
                <c:pt idx="121">
                  <c:v>0.13230716706000001</c:v>
                </c:pt>
                <c:pt idx="122">
                  <c:v>0.30279851942000002</c:v>
                </c:pt>
                <c:pt idx="123">
                  <c:v>0.37566228419999997</c:v>
                </c:pt>
                <c:pt idx="124">
                  <c:v>0.18222397166000001</c:v>
                </c:pt>
                <c:pt idx="125">
                  <c:v>0.11844678509999999</c:v>
                </c:pt>
                <c:pt idx="126">
                  <c:v>-0.15106568895</c:v>
                </c:pt>
                <c:pt idx="127">
                  <c:v>-0.2386298016</c:v>
                </c:pt>
                <c:pt idx="128">
                  <c:v>-0.27016978093999999</c:v>
                </c:pt>
                <c:pt idx="129">
                  <c:v>-0.22640450361</c:v>
                </c:pt>
                <c:pt idx="130">
                  <c:v>-0.20206858594999999</c:v>
                </c:pt>
                <c:pt idx="131">
                  <c:v>-0.2345081369</c:v>
                </c:pt>
                <c:pt idx="132">
                  <c:v>-0.28731832928000001</c:v>
                </c:pt>
                <c:pt idx="133">
                  <c:v>-0.26848336657999999</c:v>
                </c:pt>
                <c:pt idx="134">
                  <c:v>-0.38539343106000001</c:v>
                </c:pt>
                <c:pt idx="135">
                  <c:v>-0.44870960548</c:v>
                </c:pt>
                <c:pt idx="136">
                  <c:v>-0.47937672616999999</c:v>
                </c:pt>
                <c:pt idx="137">
                  <c:v>-0.46845330695999998</c:v>
                </c:pt>
                <c:pt idx="138">
                  <c:v>-0.45170839876000002</c:v>
                </c:pt>
                <c:pt idx="139">
                  <c:v>-0.39873829770000002</c:v>
                </c:pt>
                <c:pt idx="140">
                  <c:v>-0.28802275576000003</c:v>
                </c:pt>
                <c:pt idx="141">
                  <c:v>-9.4788988020000006E-2</c:v>
                </c:pt>
                <c:pt idx="142">
                  <c:v>5.6983249520000001E-2</c:v>
                </c:pt>
                <c:pt idx="143">
                  <c:v>0.17110525311999999</c:v>
                </c:pt>
                <c:pt idx="144">
                  <c:v>0.24536653111000001</c:v>
                </c:pt>
                <c:pt idx="145">
                  <c:v>0.10774397251999999</c:v>
                </c:pt>
                <c:pt idx="146">
                  <c:v>4.6367262319999998E-2</c:v>
                </c:pt>
                <c:pt idx="147">
                  <c:v>-1.182287835E-2</c:v>
                </c:pt>
                <c:pt idx="148">
                  <c:v>7.2705037699999997E-3</c:v>
                </c:pt>
                <c:pt idx="149">
                  <c:v>-2.2654209250000001E-2</c:v>
                </c:pt>
                <c:pt idx="150">
                  <c:v>3.495501669E-2</c:v>
                </c:pt>
                <c:pt idx="151">
                  <c:v>7.0200884180000006E-2</c:v>
                </c:pt>
                <c:pt idx="152">
                  <c:v>-2.341745517E-2</c:v>
                </c:pt>
                <c:pt idx="153">
                  <c:v>-9.8530381380000004E-2</c:v>
                </c:pt>
                <c:pt idx="154">
                  <c:v>-0.10005855586</c:v>
                </c:pt>
                <c:pt idx="155">
                  <c:v>-8.2681911440000005E-2</c:v>
                </c:pt>
                <c:pt idx="156">
                  <c:v>-0.10418090053</c:v>
                </c:pt>
                <c:pt idx="157">
                  <c:v>-2.4373355829999999E-2</c:v>
                </c:pt>
                <c:pt idx="158">
                  <c:v>3.72620299E-3</c:v>
                </c:pt>
                <c:pt idx="159">
                  <c:v>-9.4597755359999994E-2</c:v>
                </c:pt>
                <c:pt idx="160">
                  <c:v>-0.13417781038000001</c:v>
                </c:pt>
                <c:pt idx="161">
                  <c:v>-0.11507103835</c:v>
                </c:pt>
                <c:pt idx="162">
                  <c:v>-0.12848754723</c:v>
                </c:pt>
                <c:pt idx="163">
                  <c:v>-0.13867356624999999</c:v>
                </c:pt>
                <c:pt idx="164">
                  <c:v>-7.8027818799999996E-2</c:v>
                </c:pt>
                <c:pt idx="165">
                  <c:v>-4.9763436760000002E-2</c:v>
                </c:pt>
                <c:pt idx="166">
                  <c:v>-0.14856299254999999</c:v>
                </c:pt>
                <c:pt idx="167">
                  <c:v>-0.15296072972999999</c:v>
                </c:pt>
                <c:pt idx="168">
                  <c:v>-0.13703029793999999</c:v>
                </c:pt>
                <c:pt idx="169">
                  <c:v>-9.9829594009999995E-2</c:v>
                </c:pt>
                <c:pt idx="170">
                  <c:v>-6.1217377599999998E-2</c:v>
                </c:pt>
                <c:pt idx="171">
                  <c:v>2.443652395E-2</c:v>
                </c:pt>
                <c:pt idx="172">
                  <c:v>7.7094262400000002E-2</c:v>
                </c:pt>
                <c:pt idx="173">
                  <c:v>-3.5280518560000002E-2</c:v>
                </c:pt>
                <c:pt idx="174">
                  <c:v>-9.3944907100000002E-2</c:v>
                </c:pt>
                <c:pt idx="175">
                  <c:v>-8.5444830099999994E-2</c:v>
                </c:pt>
                <c:pt idx="176">
                  <c:v>-0.1103658285</c:v>
                </c:pt>
                <c:pt idx="177">
                  <c:v>-0.12197411787</c:v>
                </c:pt>
                <c:pt idx="178">
                  <c:v>-6.4745335909999993E-2</c:v>
                </c:pt>
                <c:pt idx="179">
                  <c:v>-5.3800782370000001E-2</c:v>
                </c:pt>
                <c:pt idx="180">
                  <c:v>-0.15641530926</c:v>
                </c:pt>
                <c:pt idx="181">
                  <c:v>-0.22862513452</c:v>
                </c:pt>
                <c:pt idx="182">
                  <c:v>-0.22537080383999999</c:v>
                </c:pt>
                <c:pt idx="183">
                  <c:v>-0.24801498456000001</c:v>
                </c:pt>
                <c:pt idx="184">
                  <c:v>-0.26379784982999999</c:v>
                </c:pt>
                <c:pt idx="185">
                  <c:v>-0.24117536462</c:v>
                </c:pt>
                <c:pt idx="186">
                  <c:v>-0.18939443533</c:v>
                </c:pt>
                <c:pt idx="187">
                  <c:v>-0.23902689049</c:v>
                </c:pt>
                <c:pt idx="188">
                  <c:v>-0.27776716501999998</c:v>
                </c:pt>
                <c:pt idx="189">
                  <c:v>-0.25876972856000002</c:v>
                </c:pt>
                <c:pt idx="190">
                  <c:v>-0.22329167333</c:v>
                </c:pt>
                <c:pt idx="191">
                  <c:v>-0.24611807160999999</c:v>
                </c:pt>
                <c:pt idx="192">
                  <c:v>-0.17101971944</c:v>
                </c:pt>
                <c:pt idx="193">
                  <c:v>-0.13176634118</c:v>
                </c:pt>
                <c:pt idx="194">
                  <c:v>-0.17045380985</c:v>
                </c:pt>
                <c:pt idx="195">
                  <c:v>-0.17583990507</c:v>
                </c:pt>
                <c:pt idx="196">
                  <c:v>-0.13480599870000001</c:v>
                </c:pt>
                <c:pt idx="197">
                  <c:v>-0.16335090756000001</c:v>
                </c:pt>
                <c:pt idx="198">
                  <c:v>-0.13772273560000001</c:v>
                </c:pt>
                <c:pt idx="199">
                  <c:v>-0.14209546606000001</c:v>
                </c:pt>
                <c:pt idx="200">
                  <c:v>-0.11902098623</c:v>
                </c:pt>
                <c:pt idx="201">
                  <c:v>-0.19721855954</c:v>
                </c:pt>
                <c:pt idx="202">
                  <c:v>-0.23620005068</c:v>
                </c:pt>
                <c:pt idx="203">
                  <c:v>-0.27197058637999999</c:v>
                </c:pt>
                <c:pt idx="204">
                  <c:v>-0.20566673639999999</c:v>
                </c:pt>
                <c:pt idx="205">
                  <c:v>-0.23324118636999999</c:v>
                </c:pt>
                <c:pt idx="206">
                  <c:v>-0.16111096603</c:v>
                </c:pt>
                <c:pt idx="207">
                  <c:v>-9.8072245870000005E-2</c:v>
                </c:pt>
                <c:pt idx="208">
                  <c:v>-0.14147223797</c:v>
                </c:pt>
                <c:pt idx="209">
                  <c:v>-0.14991314842</c:v>
                </c:pt>
                <c:pt idx="210">
                  <c:v>-9.2140801630000005E-2</c:v>
                </c:pt>
                <c:pt idx="211">
                  <c:v>-0.10122127486</c:v>
                </c:pt>
                <c:pt idx="212">
                  <c:v>-8.7299901420000006E-2</c:v>
                </c:pt>
                <c:pt idx="213">
                  <c:v>-8.6194025559999998E-2</c:v>
                </c:pt>
                <c:pt idx="214">
                  <c:v>-7.5894011339999998E-2</c:v>
                </c:pt>
                <c:pt idx="215">
                  <c:v>-0.14641059951999999</c:v>
                </c:pt>
                <c:pt idx="216">
                  <c:v>-0.29236868378000003</c:v>
                </c:pt>
                <c:pt idx="217">
                  <c:v>-0.32375772135999997</c:v>
                </c:pt>
                <c:pt idx="218">
                  <c:v>-0.25197285093999999</c:v>
                </c:pt>
                <c:pt idx="219">
                  <c:v>-0.19912135799</c:v>
                </c:pt>
                <c:pt idx="220">
                  <c:v>-7.3500612600000001E-2</c:v>
                </c:pt>
                <c:pt idx="221">
                  <c:v>0.11794496433</c:v>
                </c:pt>
                <c:pt idx="222">
                  <c:v>0.14738409388000001</c:v>
                </c:pt>
                <c:pt idx="223">
                  <c:v>0.25953851483000001</c:v>
                </c:pt>
                <c:pt idx="224">
                  <c:v>0.28744393237999999</c:v>
                </c:pt>
                <c:pt idx="225">
                  <c:v>5.9397792159999997E-2</c:v>
                </c:pt>
                <c:pt idx="226">
                  <c:v>-2.9817837560000001E-2</c:v>
                </c:pt>
                <c:pt idx="227">
                  <c:v>-9.0496467600000002E-3</c:v>
                </c:pt>
                <c:pt idx="228">
                  <c:v>-0.21879275947999999</c:v>
                </c:pt>
                <c:pt idx="229">
                  <c:v>-0.33127545115000001</c:v>
                </c:pt>
                <c:pt idx="230">
                  <c:v>-0.34609780825999997</c:v>
                </c:pt>
                <c:pt idx="231">
                  <c:v>-0.32003162123000001</c:v>
                </c:pt>
                <c:pt idx="232">
                  <c:v>-0.17981060669000001</c:v>
                </c:pt>
                <c:pt idx="233">
                  <c:v>-0.11908693568000001</c:v>
                </c:pt>
                <c:pt idx="234">
                  <c:v>-5.7187626200000001E-2</c:v>
                </c:pt>
                <c:pt idx="235">
                  <c:v>0.10272136033</c:v>
                </c:pt>
                <c:pt idx="236">
                  <c:v>4.369651645E-2</c:v>
                </c:pt>
                <c:pt idx="237">
                  <c:v>-7.6486099409999994E-2</c:v>
                </c:pt>
                <c:pt idx="238">
                  <c:v>-6.8086950369999996E-2</c:v>
                </c:pt>
                <c:pt idx="239">
                  <c:v>-8.3019449509999996E-2</c:v>
                </c:pt>
                <c:pt idx="240">
                  <c:v>-9.3995209450000006E-2</c:v>
                </c:pt>
                <c:pt idx="241">
                  <c:v>-3.7115323790000002E-2</c:v>
                </c:pt>
                <c:pt idx="242">
                  <c:v>9.3612666600000009E-3</c:v>
                </c:pt>
                <c:pt idx="243">
                  <c:v>-0.12366426547000001</c:v>
                </c:pt>
                <c:pt idx="244">
                  <c:v>-0.15094187464</c:v>
                </c:pt>
                <c:pt idx="245">
                  <c:v>-0.15203999313</c:v>
                </c:pt>
                <c:pt idx="246">
                  <c:v>-0.16297021547000001</c:v>
                </c:pt>
                <c:pt idx="247">
                  <c:v>-0.18851610349</c:v>
                </c:pt>
                <c:pt idx="248">
                  <c:v>-0.13764548599000001</c:v>
                </c:pt>
                <c:pt idx="249">
                  <c:v>-0.14232272314</c:v>
                </c:pt>
                <c:pt idx="250">
                  <c:v>-0.20205868448</c:v>
                </c:pt>
                <c:pt idx="251">
                  <c:v>-0.22932613696000001</c:v>
                </c:pt>
                <c:pt idx="252">
                  <c:v>-0.19759839865000001</c:v>
                </c:pt>
                <c:pt idx="253">
                  <c:v>-0.18731421497</c:v>
                </c:pt>
                <c:pt idx="254">
                  <c:v>-0.16050787575</c:v>
                </c:pt>
                <c:pt idx="255">
                  <c:v>-0.13439511640999999</c:v>
                </c:pt>
                <c:pt idx="256">
                  <c:v>-5.5633186340000002E-2</c:v>
                </c:pt>
                <c:pt idx="257">
                  <c:v>-0.13804418887</c:v>
                </c:pt>
                <c:pt idx="258">
                  <c:v>-0.13173466741000001</c:v>
                </c:pt>
                <c:pt idx="259">
                  <c:v>-0.11522618022</c:v>
                </c:pt>
                <c:pt idx="260">
                  <c:v>-0.10268772785999999</c:v>
                </c:pt>
                <c:pt idx="261">
                  <c:v>-0.15521009887000001</c:v>
                </c:pt>
                <c:pt idx="262">
                  <c:v>-0.10925352851</c:v>
                </c:pt>
                <c:pt idx="263">
                  <c:v>-0.11038717294</c:v>
                </c:pt>
                <c:pt idx="264">
                  <c:v>-0.19917925749000001</c:v>
                </c:pt>
                <c:pt idx="265">
                  <c:v>-0.23320425383999999</c:v>
                </c:pt>
                <c:pt idx="266">
                  <c:v>-0.20255217531</c:v>
                </c:pt>
                <c:pt idx="267">
                  <c:v>-0.18954367995999999</c:v>
                </c:pt>
                <c:pt idx="268">
                  <c:v>-0.13086655476</c:v>
                </c:pt>
                <c:pt idx="269">
                  <c:v>-8.467844377E-2</c:v>
                </c:pt>
                <c:pt idx="270">
                  <c:v>-1.3382881270000001E-2</c:v>
                </c:pt>
                <c:pt idx="271">
                  <c:v>-6.233611587E-2</c:v>
                </c:pt>
                <c:pt idx="272">
                  <c:v>-4.8622446989999998E-2</c:v>
                </c:pt>
                <c:pt idx="273">
                  <c:v>-2.1175807429999999E-2</c:v>
                </c:pt>
                <c:pt idx="274">
                  <c:v>-3.4670573080000003E-2</c:v>
                </c:pt>
                <c:pt idx="275">
                  <c:v>-2.69754725E-2</c:v>
                </c:pt>
                <c:pt idx="276">
                  <c:v>5.5740724649999997E-2</c:v>
                </c:pt>
                <c:pt idx="277">
                  <c:v>5.6906814440000002E-2</c:v>
                </c:pt>
                <c:pt idx="278">
                  <c:v>-9.8939404049999999E-2</c:v>
                </c:pt>
                <c:pt idx="279">
                  <c:v>-0.12599687277999999</c:v>
                </c:pt>
                <c:pt idx="280">
                  <c:v>-9.9106156340000001E-2</c:v>
                </c:pt>
                <c:pt idx="281">
                  <c:v>-0.12207147140000001</c:v>
                </c:pt>
                <c:pt idx="282">
                  <c:v>-0.18575645988</c:v>
                </c:pt>
                <c:pt idx="283">
                  <c:v>-0.18561462167000001</c:v>
                </c:pt>
                <c:pt idx="284">
                  <c:v>-0.15304330021000001</c:v>
                </c:pt>
                <c:pt idx="285">
                  <c:v>-0.25412240109000001</c:v>
                </c:pt>
                <c:pt idx="286">
                  <c:v>-0.29453875077000002</c:v>
                </c:pt>
                <c:pt idx="287">
                  <c:v>-0.25798553366999999</c:v>
                </c:pt>
                <c:pt idx="288">
                  <c:v>-0.26144509176000003</c:v>
                </c:pt>
                <c:pt idx="289">
                  <c:v>-0.17022168351</c:v>
                </c:pt>
                <c:pt idx="290">
                  <c:v>-4.3992424240000001E-2</c:v>
                </c:pt>
                <c:pt idx="291">
                  <c:v>3.6306472999999998E-4</c:v>
                </c:pt>
                <c:pt idx="292">
                  <c:v>6.7625045009999996E-2</c:v>
                </c:pt>
                <c:pt idx="293">
                  <c:v>0.13792713413999999</c:v>
                </c:pt>
                <c:pt idx="294">
                  <c:v>9.7308108860000006E-2</c:v>
                </c:pt>
                <c:pt idx="295">
                  <c:v>9.1785201390000001E-2</c:v>
                </c:pt>
                <c:pt idx="296">
                  <c:v>2.6904252200000002E-3</c:v>
                </c:pt>
                <c:pt idx="297">
                  <c:v>3.3587491949999999E-2</c:v>
                </c:pt>
                <c:pt idx="298">
                  <c:v>2.8001108640000001E-2</c:v>
                </c:pt>
                <c:pt idx="299">
                  <c:v>-7.3464092980000006E-2</c:v>
                </c:pt>
                <c:pt idx="300">
                  <c:v>-5.4756427910000002E-2</c:v>
                </c:pt>
                <c:pt idx="301">
                  <c:v>0.18715999632999999</c:v>
                </c:pt>
                <c:pt idx="302">
                  <c:v>0.26064285714000002</c:v>
                </c:pt>
                <c:pt idx="303">
                  <c:v>0.39688395853000003</c:v>
                </c:pt>
                <c:pt idx="304">
                  <c:v>0.63456670147000005</c:v>
                </c:pt>
                <c:pt idx="305">
                  <c:v>0.57080738042000001</c:v>
                </c:pt>
                <c:pt idx="306">
                  <c:v>0.21952098709000001</c:v>
                </c:pt>
                <c:pt idx="307">
                  <c:v>6.9565929560000003E-2</c:v>
                </c:pt>
                <c:pt idx="308">
                  <c:v>-0.17092862818999999</c:v>
                </c:pt>
                <c:pt idx="309">
                  <c:v>-0.15562036055</c:v>
                </c:pt>
                <c:pt idx="310">
                  <c:v>-0.19380890512000001</c:v>
                </c:pt>
                <c:pt idx="311">
                  <c:v>-0.14927484965999999</c:v>
                </c:pt>
                <c:pt idx="312">
                  <c:v>-9.4629508230000006E-2</c:v>
                </c:pt>
                <c:pt idx="313">
                  <c:v>-6.4939550899999997E-3</c:v>
                </c:pt>
                <c:pt idx="314">
                  <c:v>3.9411023199999997E-3</c:v>
                </c:pt>
                <c:pt idx="315">
                  <c:v>4.3587148819999998E-2</c:v>
                </c:pt>
                <c:pt idx="316">
                  <c:v>-0.11525365825</c:v>
                </c:pt>
                <c:pt idx="317">
                  <c:v>-0.17787742899</c:v>
                </c:pt>
                <c:pt idx="318">
                  <c:v>-0.18486719518</c:v>
                </c:pt>
                <c:pt idx="319">
                  <c:v>-0.26587154358999998</c:v>
                </c:pt>
                <c:pt idx="320">
                  <c:v>-0.45397186227000003</c:v>
                </c:pt>
                <c:pt idx="321">
                  <c:v>-0.43862754998999998</c:v>
                </c:pt>
                <c:pt idx="322">
                  <c:v>-0.43328285392999999</c:v>
                </c:pt>
                <c:pt idx="323">
                  <c:v>-0.35075780192</c:v>
                </c:pt>
                <c:pt idx="324">
                  <c:v>-0.34421139013000002</c:v>
                </c:pt>
                <c:pt idx="325">
                  <c:v>-0.29528496356</c:v>
                </c:pt>
                <c:pt idx="326">
                  <c:v>-0.24627916330999999</c:v>
                </c:pt>
                <c:pt idx="327">
                  <c:v>-0.17928299742000001</c:v>
                </c:pt>
                <c:pt idx="328">
                  <c:v>-0.21487792813000001</c:v>
                </c:pt>
                <c:pt idx="329">
                  <c:v>-0.21681186809</c:v>
                </c:pt>
                <c:pt idx="330">
                  <c:v>-0.20635154405</c:v>
                </c:pt>
                <c:pt idx="331">
                  <c:v>-0.13709995835</c:v>
                </c:pt>
                <c:pt idx="332">
                  <c:v>-0.10865497440999999</c:v>
                </c:pt>
                <c:pt idx="333">
                  <c:v>-4.3239201769999999E-2</c:v>
                </c:pt>
                <c:pt idx="334">
                  <c:v>-7.9992236719999998E-2</c:v>
                </c:pt>
                <c:pt idx="335">
                  <c:v>-0.12724930648999999</c:v>
                </c:pt>
                <c:pt idx="336">
                  <c:v>-8.2093851620000005E-2</c:v>
                </c:pt>
                <c:pt idx="337">
                  <c:v>-5.7204600289999998E-2</c:v>
                </c:pt>
                <c:pt idx="338">
                  <c:v>-8.3017716130000002E-2</c:v>
                </c:pt>
                <c:pt idx="339">
                  <c:v>-2.1640029589999998E-2</c:v>
                </c:pt>
                <c:pt idx="340">
                  <c:v>7.6605379010000002E-2</c:v>
                </c:pt>
                <c:pt idx="341">
                  <c:v>2.3300112550000002E-2</c:v>
                </c:pt>
                <c:pt idx="342">
                  <c:v>-2.0527465769999999E-2</c:v>
                </c:pt>
                <c:pt idx="343">
                  <c:v>6.4254720670000001E-2</c:v>
                </c:pt>
                <c:pt idx="344">
                  <c:v>2.402909051E-2</c:v>
                </c:pt>
                <c:pt idx="345">
                  <c:v>2.333885057E-2</c:v>
                </c:pt>
                <c:pt idx="346">
                  <c:v>1.5940168380000001E-2</c:v>
                </c:pt>
                <c:pt idx="347">
                  <c:v>-4.4811475070000002E-2</c:v>
                </c:pt>
                <c:pt idx="348">
                  <c:v>-0.15669271901000001</c:v>
                </c:pt>
                <c:pt idx="349">
                  <c:v>-0.19472873714</c:v>
                </c:pt>
                <c:pt idx="350">
                  <c:v>-0.20529499967000001</c:v>
                </c:pt>
                <c:pt idx="351">
                  <c:v>-0.20043938082000001</c:v>
                </c:pt>
                <c:pt idx="352">
                  <c:v>-0.21062483202000001</c:v>
                </c:pt>
                <c:pt idx="353">
                  <c:v>-0.18407857884000001</c:v>
                </c:pt>
                <c:pt idx="354">
                  <c:v>-0.15262784565000001</c:v>
                </c:pt>
                <c:pt idx="355">
                  <c:v>-0.20639194886000001</c:v>
                </c:pt>
                <c:pt idx="356">
                  <c:v>-0.25551298702000003</c:v>
                </c:pt>
                <c:pt idx="357">
                  <c:v>-0.23045361847000001</c:v>
                </c:pt>
                <c:pt idx="358">
                  <c:v>-0.11450499061</c:v>
                </c:pt>
                <c:pt idx="359">
                  <c:v>-7.4818798219999996E-2</c:v>
                </c:pt>
                <c:pt idx="360">
                  <c:v>-5.3388530720000001E-2</c:v>
                </c:pt>
                <c:pt idx="361">
                  <c:v>7.8084070000000001E-4</c:v>
                </c:pt>
                <c:pt idx="362">
                  <c:v>-4.639465852E-2</c:v>
                </c:pt>
                <c:pt idx="363">
                  <c:v>-8.7603211459999997E-2</c:v>
                </c:pt>
                <c:pt idx="364">
                  <c:v>-8.1994047609999995E-2</c:v>
                </c:pt>
                <c:pt idx="365">
                  <c:v>-0.12100011720999999</c:v>
                </c:pt>
                <c:pt idx="366">
                  <c:v>-7.7569770709999999E-2</c:v>
                </c:pt>
                <c:pt idx="367">
                  <c:v>7.0954064740000003E-2</c:v>
                </c:pt>
                <c:pt idx="368">
                  <c:v>0.13699216991999999</c:v>
                </c:pt>
                <c:pt idx="369">
                  <c:v>9.4586562900000008E-3</c:v>
                </c:pt>
                <c:pt idx="370">
                  <c:v>7.0365774029999995E-2</c:v>
                </c:pt>
                <c:pt idx="371">
                  <c:v>0.19452923974</c:v>
                </c:pt>
                <c:pt idx="372">
                  <c:v>0.13314600109999999</c:v>
                </c:pt>
                <c:pt idx="373">
                  <c:v>7.4979320700000004E-2</c:v>
                </c:pt>
                <c:pt idx="374">
                  <c:v>6.0700898250000003E-2</c:v>
                </c:pt>
                <c:pt idx="375">
                  <c:v>8.7786726699999994E-3</c:v>
                </c:pt>
                <c:pt idx="376">
                  <c:v>-0.23210778756</c:v>
                </c:pt>
                <c:pt idx="377">
                  <c:v>-0.34152146249999998</c:v>
                </c:pt>
                <c:pt idx="378">
                  <c:v>-0.36097231542000002</c:v>
                </c:pt>
                <c:pt idx="379">
                  <c:v>-0.34829741256000002</c:v>
                </c:pt>
                <c:pt idx="380">
                  <c:v>-0.33038467230000002</c:v>
                </c:pt>
                <c:pt idx="381">
                  <c:v>-0.29042884313</c:v>
                </c:pt>
                <c:pt idx="382">
                  <c:v>-0.22614334299</c:v>
                </c:pt>
                <c:pt idx="383">
                  <c:v>-0.18841403519</c:v>
                </c:pt>
                <c:pt idx="384">
                  <c:v>-0.23142420733999999</c:v>
                </c:pt>
                <c:pt idx="385">
                  <c:v>-0.20790710071999999</c:v>
                </c:pt>
                <c:pt idx="386">
                  <c:v>-0.2094395406</c:v>
                </c:pt>
                <c:pt idx="387">
                  <c:v>-0.23566216015999999</c:v>
                </c:pt>
                <c:pt idx="388">
                  <c:v>-0.19470007668</c:v>
                </c:pt>
                <c:pt idx="389">
                  <c:v>-0.11094441405</c:v>
                </c:pt>
                <c:pt idx="390">
                  <c:v>-0.19929264713</c:v>
                </c:pt>
                <c:pt idx="391">
                  <c:v>-0.13134581153</c:v>
                </c:pt>
                <c:pt idx="392">
                  <c:v>-8.8776301229999993E-2</c:v>
                </c:pt>
                <c:pt idx="393">
                  <c:v>-4.6584420639999999E-2</c:v>
                </c:pt>
                <c:pt idx="394">
                  <c:v>5.806650486E-2</c:v>
                </c:pt>
                <c:pt idx="395">
                  <c:v>0.14247377492999999</c:v>
                </c:pt>
                <c:pt idx="396">
                  <c:v>0.12261345304</c:v>
                </c:pt>
                <c:pt idx="397">
                  <c:v>4.8869065189999998E-2</c:v>
                </c:pt>
                <c:pt idx="398">
                  <c:v>2.0361896210000001E-2</c:v>
                </c:pt>
                <c:pt idx="399">
                  <c:v>-2.2092144479999999E-2</c:v>
                </c:pt>
                <c:pt idx="400">
                  <c:v>-9.6405363519999995E-2</c:v>
                </c:pt>
                <c:pt idx="401">
                  <c:v>-0.14527497117999999</c:v>
                </c:pt>
                <c:pt idx="402">
                  <c:v>-0.11589597292000001</c:v>
                </c:pt>
                <c:pt idx="403">
                  <c:v>-5.526502497E-2</c:v>
                </c:pt>
                <c:pt idx="404">
                  <c:v>-0.28500092978000002</c:v>
                </c:pt>
                <c:pt idx="405">
                  <c:v>-0.28180406287999998</c:v>
                </c:pt>
                <c:pt idx="406">
                  <c:v>-0.23412021456000001</c:v>
                </c:pt>
                <c:pt idx="407">
                  <c:v>-0.18519550516</c:v>
                </c:pt>
                <c:pt idx="408">
                  <c:v>-0.12760874198</c:v>
                </c:pt>
                <c:pt idx="409">
                  <c:v>-8.7943231600000008E-3</c:v>
                </c:pt>
                <c:pt idx="410">
                  <c:v>2.8264502239999999E-2</c:v>
                </c:pt>
                <c:pt idx="411">
                  <c:v>3.4399917499999999E-3</c:v>
                </c:pt>
                <c:pt idx="412">
                  <c:v>2.5801372909999998E-2</c:v>
                </c:pt>
                <c:pt idx="413">
                  <c:v>7.3413507150000001E-2</c:v>
                </c:pt>
                <c:pt idx="414">
                  <c:v>9.1376467449999998E-2</c:v>
                </c:pt>
                <c:pt idx="415">
                  <c:v>0.10970551095</c:v>
                </c:pt>
                <c:pt idx="416">
                  <c:v>0.20161394355000001</c:v>
                </c:pt>
                <c:pt idx="417">
                  <c:v>0.24404163729</c:v>
                </c:pt>
                <c:pt idx="418">
                  <c:v>-2.4768352439999999E-2</c:v>
                </c:pt>
                <c:pt idx="419">
                  <c:v>-0.14927602326</c:v>
                </c:pt>
                <c:pt idx="420">
                  <c:v>-0.19979443432999999</c:v>
                </c:pt>
                <c:pt idx="421">
                  <c:v>-0.26176904473000001</c:v>
                </c:pt>
                <c:pt idx="422">
                  <c:v>-0.35931849297000001</c:v>
                </c:pt>
                <c:pt idx="423">
                  <c:v>-0.35733882935</c:v>
                </c:pt>
                <c:pt idx="424">
                  <c:v>-0.30438628035999998</c:v>
                </c:pt>
                <c:pt idx="425">
                  <c:v>-0.36467988421000003</c:v>
                </c:pt>
                <c:pt idx="426">
                  <c:v>-0.36739398908999998</c:v>
                </c:pt>
                <c:pt idx="427">
                  <c:v>-0.28655116826999999</c:v>
                </c:pt>
                <c:pt idx="428">
                  <c:v>-0.17926397767999999</c:v>
                </c:pt>
                <c:pt idx="429">
                  <c:v>-0.14906353755999999</c:v>
                </c:pt>
                <c:pt idx="430">
                  <c:v>-8.9714455009999999E-2</c:v>
                </c:pt>
                <c:pt idx="431">
                  <c:v>-9.1949803969999994E-2</c:v>
                </c:pt>
                <c:pt idx="432">
                  <c:v>-0.18924627574</c:v>
                </c:pt>
                <c:pt idx="433">
                  <c:v>-0.25577576726000001</c:v>
                </c:pt>
                <c:pt idx="434">
                  <c:v>-0.29046251112999999</c:v>
                </c:pt>
                <c:pt idx="435">
                  <c:v>-0.29263397738000002</c:v>
                </c:pt>
                <c:pt idx="436">
                  <c:v>-0.29192087046999998</c:v>
                </c:pt>
                <c:pt idx="437">
                  <c:v>-0.21954273198999999</c:v>
                </c:pt>
                <c:pt idx="438">
                  <c:v>-9.8045392800000006E-2</c:v>
                </c:pt>
                <c:pt idx="439">
                  <c:v>-0.15229929783999999</c:v>
                </c:pt>
                <c:pt idx="440">
                  <c:v>-0.20032645669999999</c:v>
                </c:pt>
                <c:pt idx="441">
                  <c:v>-0.1138762026</c:v>
                </c:pt>
                <c:pt idx="442">
                  <c:v>-0.12299022912</c:v>
                </c:pt>
                <c:pt idx="443">
                  <c:v>-0.18620276216000001</c:v>
                </c:pt>
                <c:pt idx="444">
                  <c:v>-0.13500325046</c:v>
                </c:pt>
                <c:pt idx="445">
                  <c:v>-8.7566292500000004E-2</c:v>
                </c:pt>
                <c:pt idx="446">
                  <c:v>-0.16784334295</c:v>
                </c:pt>
                <c:pt idx="447">
                  <c:v>-0.21108954756000001</c:v>
                </c:pt>
                <c:pt idx="448">
                  <c:v>-0.18724590932999999</c:v>
                </c:pt>
                <c:pt idx="449">
                  <c:v>-0.1745847992</c:v>
                </c:pt>
                <c:pt idx="450">
                  <c:v>-0.17837668540000001</c:v>
                </c:pt>
                <c:pt idx="451">
                  <c:v>-0.18650435300000001</c:v>
                </c:pt>
                <c:pt idx="452">
                  <c:v>-0.19035651391</c:v>
                </c:pt>
                <c:pt idx="453">
                  <c:v>-0.19154577864</c:v>
                </c:pt>
                <c:pt idx="454">
                  <c:v>-0.27826689633000001</c:v>
                </c:pt>
                <c:pt idx="455">
                  <c:v>-0.33228150758000002</c:v>
                </c:pt>
                <c:pt idx="456">
                  <c:v>-0.30769298444999998</c:v>
                </c:pt>
                <c:pt idx="457">
                  <c:v>-0.34408569713999998</c:v>
                </c:pt>
                <c:pt idx="458">
                  <c:v>-0.30018478499000001</c:v>
                </c:pt>
                <c:pt idx="459">
                  <c:v>-0.28113202003999999</c:v>
                </c:pt>
                <c:pt idx="460">
                  <c:v>-0.30348939839</c:v>
                </c:pt>
                <c:pt idx="461">
                  <c:v>-0.34324058413000003</c:v>
                </c:pt>
                <c:pt idx="462">
                  <c:v>-0.19909552933999999</c:v>
                </c:pt>
                <c:pt idx="463">
                  <c:v>-0.23607929657999999</c:v>
                </c:pt>
                <c:pt idx="464">
                  <c:v>-0.21519051257999999</c:v>
                </c:pt>
                <c:pt idx="465">
                  <c:v>-0.17531004819000001</c:v>
                </c:pt>
                <c:pt idx="466">
                  <c:v>-0.11506455335</c:v>
                </c:pt>
                <c:pt idx="467">
                  <c:v>-0.18387250487000001</c:v>
                </c:pt>
                <c:pt idx="468">
                  <c:v>-0.1721571942</c:v>
                </c:pt>
                <c:pt idx="469">
                  <c:v>-0.18783720114999999</c:v>
                </c:pt>
                <c:pt idx="470">
                  <c:v>-0.16143780656000001</c:v>
                </c:pt>
                <c:pt idx="471">
                  <c:v>-0.16200119537999999</c:v>
                </c:pt>
                <c:pt idx="472">
                  <c:v>-0.13587041412</c:v>
                </c:pt>
                <c:pt idx="473">
                  <c:v>-9.4285561860000006E-2</c:v>
                </c:pt>
                <c:pt idx="474">
                  <c:v>-0.13902258974000001</c:v>
                </c:pt>
                <c:pt idx="475">
                  <c:v>-0.18157181484000001</c:v>
                </c:pt>
                <c:pt idx="476">
                  <c:v>-0.16478129919000001</c:v>
                </c:pt>
                <c:pt idx="477">
                  <c:v>-0.16676794582000001</c:v>
                </c:pt>
                <c:pt idx="478">
                  <c:v>-0.12731579202000001</c:v>
                </c:pt>
                <c:pt idx="479">
                  <c:v>-0.19093412096000001</c:v>
                </c:pt>
                <c:pt idx="480">
                  <c:v>-0.21475432983000001</c:v>
                </c:pt>
                <c:pt idx="481">
                  <c:v>-0.25806467732999999</c:v>
                </c:pt>
                <c:pt idx="482">
                  <c:v>-0.28094460522999998</c:v>
                </c:pt>
                <c:pt idx="483">
                  <c:v>-0.26041001057000002</c:v>
                </c:pt>
                <c:pt idx="484">
                  <c:v>-0.17348897211</c:v>
                </c:pt>
                <c:pt idx="485">
                  <c:v>-4.7160748709999999E-2</c:v>
                </c:pt>
                <c:pt idx="486">
                  <c:v>0.25133530223</c:v>
                </c:pt>
                <c:pt idx="487">
                  <c:v>0.35540310870000003</c:v>
                </c:pt>
                <c:pt idx="488">
                  <c:v>0.25868333217</c:v>
                </c:pt>
                <c:pt idx="489">
                  <c:v>0.30131579415999998</c:v>
                </c:pt>
                <c:pt idx="490">
                  <c:v>0.53195072613000005</c:v>
                </c:pt>
                <c:pt idx="491">
                  <c:v>0.32562111761000001</c:v>
                </c:pt>
                <c:pt idx="492">
                  <c:v>0.28959349137000001</c:v>
                </c:pt>
                <c:pt idx="493">
                  <c:v>0.32298695931999999</c:v>
                </c:pt>
                <c:pt idx="494">
                  <c:v>0.23467627090000001</c:v>
                </c:pt>
                <c:pt idx="495">
                  <c:v>-4.9240310369999998E-2</c:v>
                </c:pt>
                <c:pt idx="496">
                  <c:v>-0.21241500059999999</c:v>
                </c:pt>
                <c:pt idx="497">
                  <c:v>-0.2011850483</c:v>
                </c:pt>
                <c:pt idx="498">
                  <c:v>-0.10032005922999999</c:v>
                </c:pt>
                <c:pt idx="499">
                  <c:v>-9.0668044690000005E-2</c:v>
                </c:pt>
                <c:pt idx="500">
                  <c:v>1.662885633E-2</c:v>
                </c:pt>
                <c:pt idx="501">
                  <c:v>0.18981221798</c:v>
                </c:pt>
                <c:pt idx="502">
                  <c:v>0.11939536044</c:v>
                </c:pt>
                <c:pt idx="503">
                  <c:v>0.18574250163</c:v>
                </c:pt>
                <c:pt idx="504">
                  <c:v>0.28175338487000001</c:v>
                </c:pt>
                <c:pt idx="505">
                  <c:v>0.27186256677999998</c:v>
                </c:pt>
                <c:pt idx="506">
                  <c:v>0.28017898190000001</c:v>
                </c:pt>
                <c:pt idx="507">
                  <c:v>0.29852276323999999</c:v>
                </c:pt>
                <c:pt idx="508">
                  <c:v>7.241112441E-2</c:v>
                </c:pt>
                <c:pt idx="509">
                  <c:v>-0.20388092898999999</c:v>
                </c:pt>
                <c:pt idx="510">
                  <c:v>-0.34453810718</c:v>
                </c:pt>
                <c:pt idx="511">
                  <c:v>-0.39405993808000001</c:v>
                </c:pt>
                <c:pt idx="512">
                  <c:v>-0.36554243168</c:v>
                </c:pt>
                <c:pt idx="513">
                  <c:v>-0.39134525673999998</c:v>
                </c:pt>
                <c:pt idx="514">
                  <c:v>-0.33641580882</c:v>
                </c:pt>
                <c:pt idx="515">
                  <c:v>-0.28072365397999999</c:v>
                </c:pt>
                <c:pt idx="516">
                  <c:v>-0.26288824964000002</c:v>
                </c:pt>
                <c:pt idx="517">
                  <c:v>-0.34213172980000001</c:v>
                </c:pt>
                <c:pt idx="518">
                  <c:v>-0.31738871080999997</c:v>
                </c:pt>
                <c:pt idx="519">
                  <c:v>-0.36615246406000002</c:v>
                </c:pt>
                <c:pt idx="520">
                  <c:v>-0.37103067808000001</c:v>
                </c:pt>
                <c:pt idx="521">
                  <c:v>-0.40299923983000002</c:v>
                </c:pt>
                <c:pt idx="522">
                  <c:v>-0.36178681125000001</c:v>
                </c:pt>
                <c:pt idx="523">
                  <c:v>-0.43924060002999998</c:v>
                </c:pt>
                <c:pt idx="524">
                  <c:v>-0.38076985880999997</c:v>
                </c:pt>
                <c:pt idx="525">
                  <c:v>-0.42580909098000003</c:v>
                </c:pt>
                <c:pt idx="526">
                  <c:v>-0.33166449774000001</c:v>
                </c:pt>
                <c:pt idx="527">
                  <c:v>-0.38468566553</c:v>
                </c:pt>
                <c:pt idx="528">
                  <c:v>-0.28085461211000001</c:v>
                </c:pt>
                <c:pt idx="529">
                  <c:v>-0.31305324027999998</c:v>
                </c:pt>
                <c:pt idx="530">
                  <c:v>-0.22250212521000001</c:v>
                </c:pt>
                <c:pt idx="531">
                  <c:v>-0.2749748883</c:v>
                </c:pt>
                <c:pt idx="532">
                  <c:v>-0.16800724281000001</c:v>
                </c:pt>
                <c:pt idx="533">
                  <c:v>-0.19879404286999999</c:v>
                </c:pt>
                <c:pt idx="534">
                  <c:v>-9.8606958470000006E-2</c:v>
                </c:pt>
                <c:pt idx="535">
                  <c:v>-0.12648412509000001</c:v>
                </c:pt>
                <c:pt idx="536">
                  <c:v>1.34101801E-3</c:v>
                </c:pt>
                <c:pt idx="537">
                  <c:v>-0.10416360265000001</c:v>
                </c:pt>
                <c:pt idx="538">
                  <c:v>-0.13137646961999999</c:v>
                </c:pt>
                <c:pt idx="539">
                  <c:v>-0.17279070763000001</c:v>
                </c:pt>
                <c:pt idx="540">
                  <c:v>-0.12498497124999999</c:v>
                </c:pt>
                <c:pt idx="541">
                  <c:v>-0.17559654857000001</c:v>
                </c:pt>
                <c:pt idx="542">
                  <c:v>-0.12382632155999999</c:v>
                </c:pt>
                <c:pt idx="543">
                  <c:v>-0.11374658142999999</c:v>
                </c:pt>
                <c:pt idx="544">
                  <c:v>-9.7994456009999995E-2</c:v>
                </c:pt>
                <c:pt idx="545">
                  <c:v>-0.12185001493</c:v>
                </c:pt>
                <c:pt idx="546">
                  <c:v>2.8414834899999999E-3</c:v>
                </c:pt>
                <c:pt idx="547">
                  <c:v>3.1782712239999997E-2</c:v>
                </c:pt>
                <c:pt idx="548">
                  <c:v>8.774880182E-2</c:v>
                </c:pt>
                <c:pt idx="549">
                  <c:v>0.17089816848</c:v>
                </c:pt>
                <c:pt idx="550">
                  <c:v>0.21939194798</c:v>
                </c:pt>
                <c:pt idx="551">
                  <c:v>-5.147806347000000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C8-4E7B-83D3-5242563E84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Novych_hosp_7dni_100_000_nyni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53</c:f>
              <c:numCache>
                <c:formatCode>m/d/yyyy</c:formatCode>
                <c:ptCount val="55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</c:numCache>
            </c:numRef>
          </c:cat>
          <c:val>
            <c:numRef>
              <c:f>Sheet1!$B$2:$B$553</c:f>
              <c:numCache>
                <c:formatCode>#\ ##0.0</c:formatCode>
                <c:ptCount val="552"/>
                <c:pt idx="0">
                  <c:v>1.5205812359819999</c:v>
                </c:pt>
                <c:pt idx="1">
                  <c:v>1.5543719301150001</c:v>
                </c:pt>
                <c:pt idx="2">
                  <c:v>1.7007982713580001</c:v>
                </c:pt>
                <c:pt idx="3">
                  <c:v>1.8246974831780001</c:v>
                </c:pt>
                <c:pt idx="4">
                  <c:v>2.027441647976</c:v>
                </c:pt>
                <c:pt idx="5">
                  <c:v>2.0837594715310002</c:v>
                </c:pt>
                <c:pt idx="6">
                  <c:v>2.342821459884</c:v>
                </c:pt>
                <c:pt idx="7">
                  <c:v>2.4216664128610002</c:v>
                </c:pt>
                <c:pt idx="8">
                  <c:v>2.7483097894789998</c:v>
                </c:pt>
                <c:pt idx="9">
                  <c:v>2.7257826600569999</c:v>
                </c:pt>
                <c:pt idx="10">
                  <c:v>3.0073717778320002</c:v>
                </c:pt>
                <c:pt idx="11">
                  <c:v>2.9848446484100002</c:v>
                </c:pt>
                <c:pt idx="12">
                  <c:v>3.2551702014730002</c:v>
                </c:pt>
                <c:pt idx="13">
                  <c:v>3.3227515897390001</c:v>
                </c:pt>
                <c:pt idx="14">
                  <c:v>3.8971933899989999</c:v>
                </c:pt>
                <c:pt idx="15">
                  <c:v>4.2125732019070004</c:v>
                </c:pt>
                <c:pt idx="16">
                  <c:v>5.3501932377159998</c:v>
                </c:pt>
                <c:pt idx="17">
                  <c:v>5.6430459202009997</c:v>
                </c:pt>
                <c:pt idx="18">
                  <c:v>6.1048520733510001</c:v>
                </c:pt>
                <c:pt idx="19">
                  <c:v>6.2512784145940001</c:v>
                </c:pt>
                <c:pt idx="20">
                  <c:v>6.8595109089869997</c:v>
                </c:pt>
                <c:pt idx="21">
                  <c:v>7.1974178503169997</c:v>
                </c:pt>
                <c:pt idx="22">
                  <c:v>7.8957588623969999</c:v>
                </c:pt>
                <c:pt idx="23">
                  <c:v>7.997130944796</c:v>
                </c:pt>
                <c:pt idx="24">
                  <c:v>8.5603091803449995</c:v>
                </c:pt>
                <c:pt idx="25">
                  <c:v>8.9770610746519992</c:v>
                </c:pt>
                <c:pt idx="26">
                  <c:v>9.6416113925999998</c:v>
                </c:pt>
                <c:pt idx="27">
                  <c:v>9.5852935690449996</c:v>
                </c:pt>
                <c:pt idx="28">
                  <c:v>10.621541522455001</c:v>
                </c:pt>
                <c:pt idx="29">
                  <c:v>11.308618969825</c:v>
                </c:pt>
                <c:pt idx="30">
                  <c:v>11.928115028929</c:v>
                </c:pt>
                <c:pt idx="31">
                  <c:v>12.716564558698</c:v>
                </c:pt>
                <c:pt idx="32">
                  <c:v>13.178370711848</c:v>
                </c:pt>
                <c:pt idx="33">
                  <c:v>13.741548947397</c:v>
                </c:pt>
                <c:pt idx="34">
                  <c:v>15.96047119546</c:v>
                </c:pt>
                <c:pt idx="35">
                  <c:v>17.120618360691001</c:v>
                </c:pt>
                <c:pt idx="36">
                  <c:v>18.629936031962998</c:v>
                </c:pt>
                <c:pt idx="37">
                  <c:v>20.432106385720001</c:v>
                </c:pt>
                <c:pt idx="38">
                  <c:v>22.301858127742999</c:v>
                </c:pt>
                <c:pt idx="39">
                  <c:v>23.743594410747999</c:v>
                </c:pt>
                <c:pt idx="40">
                  <c:v>24.700997411182001</c:v>
                </c:pt>
                <c:pt idx="41">
                  <c:v>27.122663824042998</c:v>
                </c:pt>
                <c:pt idx="42">
                  <c:v>28.857252789534002</c:v>
                </c:pt>
                <c:pt idx="43">
                  <c:v>31.143756425863</c:v>
                </c:pt>
                <c:pt idx="44">
                  <c:v>32.788236873666001</c:v>
                </c:pt>
                <c:pt idx="45">
                  <c:v>35.209903286527002</c:v>
                </c:pt>
                <c:pt idx="46">
                  <c:v>37.744205346497999</c:v>
                </c:pt>
                <c:pt idx="47">
                  <c:v>40.379879488867999</c:v>
                </c:pt>
                <c:pt idx="48">
                  <c:v>42.576274607508999</c:v>
                </c:pt>
                <c:pt idx="49">
                  <c:v>46.067979667914003</c:v>
                </c:pt>
                <c:pt idx="50">
                  <c:v>50.472033469906997</c:v>
                </c:pt>
                <c:pt idx="51">
                  <c:v>54.256591212796998</c:v>
                </c:pt>
                <c:pt idx="52">
                  <c:v>57.996094696843002</c:v>
                </c:pt>
                <c:pt idx="53">
                  <c:v>60.316389027305</c:v>
                </c:pt>
                <c:pt idx="54">
                  <c:v>63.064698816784997</c:v>
                </c:pt>
                <c:pt idx="55">
                  <c:v>67.637706089443</c:v>
                </c:pt>
                <c:pt idx="56">
                  <c:v>71.411000267622001</c:v>
                </c:pt>
                <c:pt idx="57">
                  <c:v>70.442333702477001</c:v>
                </c:pt>
                <c:pt idx="58">
                  <c:v>73.742558162795007</c:v>
                </c:pt>
                <c:pt idx="59">
                  <c:v>77.031519058401997</c:v>
                </c:pt>
                <c:pt idx="60">
                  <c:v>77.099100446666995</c:v>
                </c:pt>
                <c:pt idx="61">
                  <c:v>76.186751705077995</c:v>
                </c:pt>
                <c:pt idx="62">
                  <c:v>76.310650916898993</c:v>
                </c:pt>
                <c:pt idx="63">
                  <c:v>75.803790504904995</c:v>
                </c:pt>
                <c:pt idx="64">
                  <c:v>77.673542246926999</c:v>
                </c:pt>
                <c:pt idx="65">
                  <c:v>75.150503751667998</c:v>
                </c:pt>
                <c:pt idx="66">
                  <c:v>72.188186232679996</c:v>
                </c:pt>
                <c:pt idx="67">
                  <c:v>70.453597267188002</c:v>
                </c:pt>
                <c:pt idx="68">
                  <c:v>68.989333854761</c:v>
                </c:pt>
                <c:pt idx="69">
                  <c:v>66.511349618344994</c:v>
                </c:pt>
                <c:pt idx="70">
                  <c:v>64.551489358634001</c:v>
                </c:pt>
                <c:pt idx="71">
                  <c:v>61.780652439732997</c:v>
                </c:pt>
                <c:pt idx="72">
                  <c:v>59.550466626957999</c:v>
                </c:pt>
                <c:pt idx="73">
                  <c:v>58.232629555773997</c:v>
                </c:pt>
                <c:pt idx="74">
                  <c:v>57.049955261119997</c:v>
                </c:pt>
                <c:pt idx="75">
                  <c:v>55.394211248605998</c:v>
                </c:pt>
                <c:pt idx="76">
                  <c:v>53.434350988894998</c:v>
                </c:pt>
                <c:pt idx="77">
                  <c:v>48.512173210196998</c:v>
                </c:pt>
                <c:pt idx="78">
                  <c:v>48.399537563087002</c:v>
                </c:pt>
                <c:pt idx="79">
                  <c:v>46.912747021237003</c:v>
                </c:pt>
                <c:pt idx="80">
                  <c:v>43.567468302076001</c:v>
                </c:pt>
                <c:pt idx="81">
                  <c:v>42.317212619156997</c:v>
                </c:pt>
                <c:pt idx="82">
                  <c:v>41.404863877567003</c:v>
                </c:pt>
                <c:pt idx="83">
                  <c:v>40.064499676959997</c:v>
                </c:pt>
                <c:pt idx="84">
                  <c:v>42.463638960399997</c:v>
                </c:pt>
                <c:pt idx="85">
                  <c:v>39.692802041497998</c:v>
                </c:pt>
                <c:pt idx="86">
                  <c:v>38.408755664445998</c:v>
                </c:pt>
                <c:pt idx="87">
                  <c:v>37.552724746411997</c:v>
                </c:pt>
                <c:pt idx="88">
                  <c:v>36.820593040197998</c:v>
                </c:pt>
                <c:pt idx="89">
                  <c:v>37.192290675659997</c:v>
                </c:pt>
                <c:pt idx="90">
                  <c:v>36.561531051845002</c:v>
                </c:pt>
                <c:pt idx="91">
                  <c:v>34.646725050977999</c:v>
                </c:pt>
                <c:pt idx="92">
                  <c:v>34.252500286093998</c:v>
                </c:pt>
                <c:pt idx="93">
                  <c:v>35.074740509995998</c:v>
                </c:pt>
                <c:pt idx="94">
                  <c:v>35.818135780920002</c:v>
                </c:pt>
                <c:pt idx="95">
                  <c:v>36.043407075140003</c:v>
                </c:pt>
                <c:pt idx="96">
                  <c:v>35.930771428029999</c:v>
                </c:pt>
                <c:pt idx="97">
                  <c:v>35.840662910341997</c:v>
                </c:pt>
                <c:pt idx="98">
                  <c:v>35.964562122163002</c:v>
                </c:pt>
                <c:pt idx="99">
                  <c:v>37.000810075574002</c:v>
                </c:pt>
                <c:pt idx="100">
                  <c:v>36.809329475486997</c:v>
                </c:pt>
                <c:pt idx="101">
                  <c:v>36.448895404734998</c:v>
                </c:pt>
                <c:pt idx="102">
                  <c:v>37.349980581613998</c:v>
                </c:pt>
                <c:pt idx="103">
                  <c:v>37.744205346497999</c:v>
                </c:pt>
                <c:pt idx="104">
                  <c:v>38.194747934938</c:v>
                </c:pt>
                <c:pt idx="105">
                  <c:v>39.276050147192002</c:v>
                </c:pt>
                <c:pt idx="106">
                  <c:v>38.611499829244003</c:v>
                </c:pt>
                <c:pt idx="107">
                  <c:v>38.949406770572999</c:v>
                </c:pt>
                <c:pt idx="108">
                  <c:v>39.4900578767</c:v>
                </c:pt>
                <c:pt idx="109">
                  <c:v>39.062042417683003</c:v>
                </c:pt>
                <c:pt idx="110">
                  <c:v>39.478794311988999</c:v>
                </c:pt>
                <c:pt idx="111">
                  <c:v>39.535112135543997</c:v>
                </c:pt>
                <c:pt idx="112">
                  <c:v>40.188398888781002</c:v>
                </c:pt>
                <c:pt idx="113">
                  <c:v>42.204576972047001</c:v>
                </c:pt>
                <c:pt idx="114">
                  <c:v>40.222189582913998</c:v>
                </c:pt>
                <c:pt idx="115">
                  <c:v>39.602693523809997</c:v>
                </c:pt>
                <c:pt idx="116">
                  <c:v>41.889197160138998</c:v>
                </c:pt>
                <c:pt idx="117">
                  <c:v>44.491080608376002</c:v>
                </c:pt>
                <c:pt idx="118">
                  <c:v>49.638529681294997</c:v>
                </c:pt>
                <c:pt idx="119">
                  <c:v>52.972544835744998</c:v>
                </c:pt>
                <c:pt idx="120">
                  <c:v>54.864823707189998</c:v>
                </c:pt>
                <c:pt idx="121">
                  <c:v>59.449094544559998</c:v>
                </c:pt>
                <c:pt idx="122">
                  <c:v>60.733140921611003</c:v>
                </c:pt>
                <c:pt idx="123">
                  <c:v>62.535311275368002</c:v>
                </c:pt>
                <c:pt idx="124">
                  <c:v>63.166070899182998</c:v>
                </c:pt>
                <c:pt idx="125">
                  <c:v>65.621528006177002</c:v>
                </c:pt>
                <c:pt idx="126">
                  <c:v>66.781675171407997</c:v>
                </c:pt>
                <c:pt idx="127">
                  <c:v>68.076985113171006</c:v>
                </c:pt>
                <c:pt idx="128">
                  <c:v>70.025581808170998</c:v>
                </c:pt>
                <c:pt idx="129">
                  <c:v>72.717573774095996</c:v>
                </c:pt>
                <c:pt idx="130">
                  <c:v>71.534899479442998</c:v>
                </c:pt>
                <c:pt idx="131">
                  <c:v>70.239589537680004</c:v>
                </c:pt>
                <c:pt idx="132">
                  <c:v>66.443768230079002</c:v>
                </c:pt>
                <c:pt idx="133">
                  <c:v>65.846799300396995</c:v>
                </c:pt>
                <c:pt idx="134">
                  <c:v>63.098489510916998</c:v>
                </c:pt>
                <c:pt idx="135">
                  <c:v>60.541660321525001</c:v>
                </c:pt>
                <c:pt idx="136">
                  <c:v>59.685629403489997</c:v>
                </c:pt>
                <c:pt idx="137">
                  <c:v>58.221365991063003</c:v>
                </c:pt>
                <c:pt idx="138">
                  <c:v>56.588149107969997</c:v>
                </c:pt>
                <c:pt idx="139">
                  <c:v>55.439265507450003</c:v>
                </c:pt>
                <c:pt idx="140">
                  <c:v>52.690955717971001</c:v>
                </c:pt>
                <c:pt idx="141">
                  <c:v>52.600847200282999</c:v>
                </c:pt>
                <c:pt idx="142">
                  <c:v>51.136583787855002</c:v>
                </c:pt>
                <c:pt idx="143">
                  <c:v>50.776149717103998</c:v>
                </c:pt>
                <c:pt idx="144">
                  <c:v>50.697304764126997</c:v>
                </c:pt>
                <c:pt idx="145">
                  <c:v>50.517087728751001</c:v>
                </c:pt>
                <c:pt idx="146">
                  <c:v>49.176723528144002</c:v>
                </c:pt>
                <c:pt idx="147">
                  <c:v>49.041560751612998</c:v>
                </c:pt>
                <c:pt idx="148">
                  <c:v>48.129212010022997</c:v>
                </c:pt>
                <c:pt idx="149">
                  <c:v>47.847622892248999</c:v>
                </c:pt>
                <c:pt idx="150">
                  <c:v>46.845165632971003</c:v>
                </c:pt>
                <c:pt idx="151">
                  <c:v>46.541049385774997</c:v>
                </c:pt>
                <c:pt idx="152">
                  <c:v>46.619894338751998</c:v>
                </c:pt>
                <c:pt idx="153">
                  <c:v>47.802568633405002</c:v>
                </c:pt>
                <c:pt idx="154">
                  <c:v>46.980328409503002</c:v>
                </c:pt>
                <c:pt idx="155">
                  <c:v>47.081700491901998</c:v>
                </c:pt>
                <c:pt idx="156">
                  <c:v>48.185529833578002</c:v>
                </c:pt>
                <c:pt idx="157">
                  <c:v>47.982785668779997</c:v>
                </c:pt>
                <c:pt idx="158">
                  <c:v>48.545963904329</c:v>
                </c:pt>
                <c:pt idx="159">
                  <c:v>49.097878575167996</c:v>
                </c:pt>
                <c:pt idx="160">
                  <c:v>48.185529833578002</c:v>
                </c:pt>
                <c:pt idx="161">
                  <c:v>48.523436774907999</c:v>
                </c:pt>
                <c:pt idx="162">
                  <c:v>48.658599551439004</c:v>
                </c:pt>
                <c:pt idx="163">
                  <c:v>48.365746868953998</c:v>
                </c:pt>
                <c:pt idx="164">
                  <c:v>48.579754598462003</c:v>
                </c:pt>
                <c:pt idx="165">
                  <c:v>48.658599551439004</c:v>
                </c:pt>
                <c:pt idx="166">
                  <c:v>49.593475422451</c:v>
                </c:pt>
                <c:pt idx="167">
                  <c:v>50.179180787421998</c:v>
                </c:pt>
                <c:pt idx="168">
                  <c:v>51.361855082075003</c:v>
                </c:pt>
                <c:pt idx="169">
                  <c:v>53.209079694675999</c:v>
                </c:pt>
                <c:pt idx="170">
                  <c:v>54.380490424618003</c:v>
                </c:pt>
                <c:pt idx="171">
                  <c:v>56.205187907796997</c:v>
                </c:pt>
                <c:pt idx="172">
                  <c:v>57.083745955253001</c:v>
                </c:pt>
                <c:pt idx="173">
                  <c:v>57.849668355600002</c:v>
                </c:pt>
                <c:pt idx="174">
                  <c:v>60.519133192102998</c:v>
                </c:pt>
                <c:pt idx="175">
                  <c:v>61.825706698577001</c:v>
                </c:pt>
                <c:pt idx="176">
                  <c:v>62.490257016525</c:v>
                </c:pt>
                <c:pt idx="177">
                  <c:v>64.923186994096</c:v>
                </c:pt>
                <c:pt idx="178">
                  <c:v>66.319869018258004</c:v>
                </c:pt>
                <c:pt idx="179">
                  <c:v>68.076985113171006</c:v>
                </c:pt>
                <c:pt idx="180">
                  <c:v>68.910488901784007</c:v>
                </c:pt>
                <c:pt idx="181">
                  <c:v>71.185728973401993</c:v>
                </c:pt>
                <c:pt idx="182">
                  <c:v>73.517286868574999</c:v>
                </c:pt>
                <c:pt idx="183">
                  <c:v>73.967829457015</c:v>
                </c:pt>
                <c:pt idx="184">
                  <c:v>73.708767468662003</c:v>
                </c:pt>
                <c:pt idx="185">
                  <c:v>73.798875986349998</c:v>
                </c:pt>
                <c:pt idx="186">
                  <c:v>74.181837186522998</c:v>
                </c:pt>
                <c:pt idx="187">
                  <c:v>74.823860375048994</c:v>
                </c:pt>
                <c:pt idx="188">
                  <c:v>73.562341127419003</c:v>
                </c:pt>
                <c:pt idx="189">
                  <c:v>72.773891597651001</c:v>
                </c:pt>
                <c:pt idx="190">
                  <c:v>74.564798386697007</c:v>
                </c:pt>
                <c:pt idx="191">
                  <c:v>74.767542551494003</c:v>
                </c:pt>
                <c:pt idx="192">
                  <c:v>75.533464951840998</c:v>
                </c:pt>
                <c:pt idx="193">
                  <c:v>75.488410692996993</c:v>
                </c:pt>
                <c:pt idx="194">
                  <c:v>74.677434033805994</c:v>
                </c:pt>
                <c:pt idx="195">
                  <c:v>75.274402963488001</c:v>
                </c:pt>
                <c:pt idx="196">
                  <c:v>74.373317786610002</c:v>
                </c:pt>
                <c:pt idx="197">
                  <c:v>72.717573774095996</c:v>
                </c:pt>
                <c:pt idx="198">
                  <c:v>71.478581655887993</c:v>
                </c:pt>
                <c:pt idx="199">
                  <c:v>69.620093478575996</c:v>
                </c:pt>
                <c:pt idx="200">
                  <c:v>67.648969654154001</c:v>
                </c:pt>
                <c:pt idx="201">
                  <c:v>66.804202300829999</c:v>
                </c:pt>
                <c:pt idx="202">
                  <c:v>65.553946617910995</c:v>
                </c:pt>
                <c:pt idx="203">
                  <c:v>63.717985570021</c:v>
                </c:pt>
                <c:pt idx="204">
                  <c:v>61.927078780975002</c:v>
                </c:pt>
                <c:pt idx="205">
                  <c:v>60.834513004009999</c:v>
                </c:pt>
                <c:pt idx="206">
                  <c:v>59.843319309443999</c:v>
                </c:pt>
                <c:pt idx="207">
                  <c:v>59.696892968200999</c:v>
                </c:pt>
                <c:pt idx="208">
                  <c:v>58.773280661900998</c:v>
                </c:pt>
                <c:pt idx="209">
                  <c:v>56.47551346086</c:v>
                </c:pt>
                <c:pt idx="210">
                  <c:v>55.191467083809002</c:v>
                </c:pt>
                <c:pt idx="211">
                  <c:v>54.267854777507999</c:v>
                </c:pt>
                <c:pt idx="212">
                  <c:v>53.028862659300003</c:v>
                </c:pt>
                <c:pt idx="213">
                  <c:v>50.618459811149997</c:v>
                </c:pt>
                <c:pt idx="214">
                  <c:v>49.706111069560997</c:v>
                </c:pt>
                <c:pt idx="215">
                  <c:v>49.154196398722</c:v>
                </c:pt>
                <c:pt idx="216">
                  <c:v>44.344654267133002</c:v>
                </c:pt>
                <c:pt idx="217">
                  <c:v>47.960258539358001</c:v>
                </c:pt>
                <c:pt idx="218">
                  <c:v>46.462204432798003</c:v>
                </c:pt>
                <c:pt idx="219">
                  <c:v>44.265809314157003</c:v>
                </c:pt>
                <c:pt idx="220">
                  <c:v>43.837793855138997</c:v>
                </c:pt>
                <c:pt idx="221">
                  <c:v>41.866670030717003</c:v>
                </c:pt>
                <c:pt idx="222">
                  <c:v>40.087026806381999</c:v>
                </c:pt>
                <c:pt idx="223">
                  <c:v>41.157065453926002</c:v>
                </c:pt>
                <c:pt idx="224">
                  <c:v>34.128601074273</c:v>
                </c:pt>
                <c:pt idx="225">
                  <c:v>32.484120626470002</c:v>
                </c:pt>
                <c:pt idx="226">
                  <c:v>31.616826143724001</c:v>
                </c:pt>
                <c:pt idx="227">
                  <c:v>30.017399954765001</c:v>
                </c:pt>
                <c:pt idx="228">
                  <c:v>29.533066672193002</c:v>
                </c:pt>
                <c:pt idx="229">
                  <c:v>28.891043483667001</c:v>
                </c:pt>
                <c:pt idx="230">
                  <c:v>28.057539695054</c:v>
                </c:pt>
                <c:pt idx="231">
                  <c:v>27.708369189014</c:v>
                </c:pt>
                <c:pt idx="232">
                  <c:v>27.190245212309001</c:v>
                </c:pt>
                <c:pt idx="233">
                  <c:v>26.322950729563001</c:v>
                </c:pt>
                <c:pt idx="234">
                  <c:v>25.399338423263</c:v>
                </c:pt>
                <c:pt idx="235">
                  <c:v>24.351826905140999</c:v>
                </c:pt>
                <c:pt idx="236">
                  <c:v>23.597168069506001</c:v>
                </c:pt>
                <c:pt idx="237">
                  <c:v>21.851315539302998</c:v>
                </c:pt>
                <c:pt idx="238">
                  <c:v>20.770013327049</c:v>
                </c:pt>
                <c:pt idx="239">
                  <c:v>19.463439820575001</c:v>
                </c:pt>
                <c:pt idx="240">
                  <c:v>19.170587138089999</c:v>
                </c:pt>
                <c:pt idx="241">
                  <c:v>18.494773255430999</c:v>
                </c:pt>
                <c:pt idx="242">
                  <c:v>18.359610478899</c:v>
                </c:pt>
                <c:pt idx="243">
                  <c:v>18.100548490546998</c:v>
                </c:pt>
                <c:pt idx="244">
                  <c:v>18.337083349476998</c:v>
                </c:pt>
                <c:pt idx="245">
                  <c:v>17.537370254997999</c:v>
                </c:pt>
                <c:pt idx="246">
                  <c:v>16.906610631183</c:v>
                </c:pt>
                <c:pt idx="247">
                  <c:v>15.802781289505999</c:v>
                </c:pt>
                <c:pt idx="248">
                  <c:v>15.543719301154001</c:v>
                </c:pt>
                <c:pt idx="249">
                  <c:v>14.755269771385001</c:v>
                </c:pt>
                <c:pt idx="250">
                  <c:v>14.225882229969001</c:v>
                </c:pt>
                <c:pt idx="251">
                  <c:v>13.009417241183</c:v>
                </c:pt>
                <c:pt idx="252">
                  <c:v>12.378657617368001</c:v>
                </c:pt>
                <c:pt idx="253">
                  <c:v>11.905587899506999</c:v>
                </c:pt>
                <c:pt idx="254">
                  <c:v>11.432518181646</c:v>
                </c:pt>
                <c:pt idx="255">
                  <c:v>10.531433004767001</c:v>
                </c:pt>
                <c:pt idx="256">
                  <c:v>10.21605319286</c:v>
                </c:pt>
                <c:pt idx="257">
                  <c:v>9.7767741691310004</c:v>
                </c:pt>
                <c:pt idx="258">
                  <c:v>8.9320068158080002</c:v>
                </c:pt>
                <c:pt idx="259">
                  <c:v>8.5265184862119998</c:v>
                </c:pt>
                <c:pt idx="260">
                  <c:v>7.7268053917330004</c:v>
                </c:pt>
                <c:pt idx="261">
                  <c:v>7.073518638496</c:v>
                </c:pt>
                <c:pt idx="262">
                  <c:v>6.9834101208080002</c:v>
                </c:pt>
                <c:pt idx="263">
                  <c:v>6.6229760500569999</c:v>
                </c:pt>
                <c:pt idx="264">
                  <c:v>6.2174877204610004</c:v>
                </c:pt>
                <c:pt idx="265">
                  <c:v>5.4853560142470004</c:v>
                </c:pt>
                <c:pt idx="266">
                  <c:v>4.9447049081200003</c:v>
                </c:pt>
                <c:pt idx="267">
                  <c:v>5.023549861097</c:v>
                </c:pt>
                <c:pt idx="268">
                  <c:v>4.7081700491899996</c:v>
                </c:pt>
                <c:pt idx="269">
                  <c:v>4.0886739900859999</c:v>
                </c:pt>
                <c:pt idx="270">
                  <c:v>3.9309840841320001</c:v>
                </c:pt>
                <c:pt idx="271">
                  <c:v>3.8971933899989999</c:v>
                </c:pt>
                <c:pt idx="272">
                  <c:v>3.8746662605769999</c:v>
                </c:pt>
                <c:pt idx="273">
                  <c:v>3.6043407075139999</c:v>
                </c:pt>
                <c:pt idx="274">
                  <c:v>3.1537981190740001</c:v>
                </c:pt>
                <c:pt idx="275">
                  <c:v>2.9172632601439998</c:v>
                </c:pt>
                <c:pt idx="276">
                  <c:v>2.7370462247680001</c:v>
                </c:pt>
                <c:pt idx="277">
                  <c:v>2.6694648365020002</c:v>
                </c:pt>
                <c:pt idx="278">
                  <c:v>2.5005113658370002</c:v>
                </c:pt>
                <c:pt idx="279">
                  <c:v>2.0161780832649998</c:v>
                </c:pt>
                <c:pt idx="280">
                  <c:v>1.9711238244210001</c:v>
                </c:pt>
                <c:pt idx="281">
                  <c:v>1.6670075772249999</c:v>
                </c:pt>
                <c:pt idx="282">
                  <c:v>1.6670075772249999</c:v>
                </c:pt>
                <c:pt idx="283">
                  <c:v>1.419209153583</c:v>
                </c:pt>
                <c:pt idx="284">
                  <c:v>1.3403642006059999</c:v>
                </c:pt>
                <c:pt idx="285">
                  <c:v>1.261519247629</c:v>
                </c:pt>
                <c:pt idx="286">
                  <c:v>1.317837071184</c:v>
                </c:pt>
                <c:pt idx="287">
                  <c:v>1.0700386475429999</c:v>
                </c:pt>
                <c:pt idx="288">
                  <c:v>0.96866656514399996</c:v>
                </c:pt>
                <c:pt idx="289">
                  <c:v>0.99119369456600004</c:v>
                </c:pt>
                <c:pt idx="290">
                  <c:v>0.97993012985500005</c:v>
                </c:pt>
                <c:pt idx="291">
                  <c:v>1.002457259277</c:v>
                </c:pt>
                <c:pt idx="292">
                  <c:v>0.96866656514399996</c:v>
                </c:pt>
                <c:pt idx="293">
                  <c:v>0.83350378861200003</c:v>
                </c:pt>
                <c:pt idx="294">
                  <c:v>0.81097665918999995</c:v>
                </c:pt>
                <c:pt idx="295">
                  <c:v>0.82224022390100004</c:v>
                </c:pt>
                <c:pt idx="296">
                  <c:v>0.61949605910299999</c:v>
                </c:pt>
                <c:pt idx="297">
                  <c:v>0.57444180026000002</c:v>
                </c:pt>
                <c:pt idx="298">
                  <c:v>0.47306971786099999</c:v>
                </c:pt>
                <c:pt idx="299">
                  <c:v>0.48433328257199998</c:v>
                </c:pt>
                <c:pt idx="300">
                  <c:v>0.45054258843900002</c:v>
                </c:pt>
                <c:pt idx="301">
                  <c:v>0.382961200173</c:v>
                </c:pt>
                <c:pt idx="302">
                  <c:v>0.45054258843900002</c:v>
                </c:pt>
                <c:pt idx="303">
                  <c:v>0.428015459017</c:v>
                </c:pt>
                <c:pt idx="304">
                  <c:v>0.40548832959499997</c:v>
                </c:pt>
                <c:pt idx="305">
                  <c:v>0.41675189430600001</c:v>
                </c:pt>
                <c:pt idx="306">
                  <c:v>0.41675189430600001</c:v>
                </c:pt>
                <c:pt idx="307">
                  <c:v>0.382961200173</c:v>
                </c:pt>
                <c:pt idx="308">
                  <c:v>0.34917050603999999</c:v>
                </c:pt>
                <c:pt idx="309">
                  <c:v>0.31537981190699999</c:v>
                </c:pt>
                <c:pt idx="310">
                  <c:v>0.31537981190699999</c:v>
                </c:pt>
                <c:pt idx="311">
                  <c:v>0.33790694132900001</c:v>
                </c:pt>
                <c:pt idx="312">
                  <c:v>0.34917050603999999</c:v>
                </c:pt>
                <c:pt idx="313">
                  <c:v>0.36043407075099998</c:v>
                </c:pt>
                <c:pt idx="314">
                  <c:v>0.40548832959499997</c:v>
                </c:pt>
                <c:pt idx="315">
                  <c:v>0.41675189430600001</c:v>
                </c:pt>
                <c:pt idx="316">
                  <c:v>0.36043407075099998</c:v>
                </c:pt>
                <c:pt idx="317">
                  <c:v>0.39422476488399999</c:v>
                </c:pt>
                <c:pt idx="318">
                  <c:v>0.428015459017</c:v>
                </c:pt>
                <c:pt idx="319">
                  <c:v>0.43927902372799998</c:v>
                </c:pt>
                <c:pt idx="320">
                  <c:v>0.428015459017</c:v>
                </c:pt>
                <c:pt idx="321">
                  <c:v>0.49559684728300002</c:v>
                </c:pt>
                <c:pt idx="322">
                  <c:v>0.54065110612699996</c:v>
                </c:pt>
                <c:pt idx="323">
                  <c:v>0.55191467083800005</c:v>
                </c:pt>
                <c:pt idx="324">
                  <c:v>0.54065110612699996</c:v>
                </c:pt>
                <c:pt idx="325">
                  <c:v>0.49559684728300002</c:v>
                </c:pt>
                <c:pt idx="326">
                  <c:v>0.51812397670499999</c:v>
                </c:pt>
                <c:pt idx="327">
                  <c:v>0.57444180026000002</c:v>
                </c:pt>
                <c:pt idx="328">
                  <c:v>0.57444180026000002</c:v>
                </c:pt>
                <c:pt idx="329">
                  <c:v>0.56317823554900004</c:v>
                </c:pt>
                <c:pt idx="330">
                  <c:v>0.57444180026000002</c:v>
                </c:pt>
                <c:pt idx="331">
                  <c:v>0.63075962381399997</c:v>
                </c:pt>
                <c:pt idx="332">
                  <c:v>0.64202318852499995</c:v>
                </c:pt>
                <c:pt idx="333">
                  <c:v>0.64202318852499995</c:v>
                </c:pt>
                <c:pt idx="334">
                  <c:v>0.59696892968199999</c:v>
                </c:pt>
                <c:pt idx="335">
                  <c:v>0.55191467083800005</c:v>
                </c:pt>
                <c:pt idx="336">
                  <c:v>0.56317823554900004</c:v>
                </c:pt>
                <c:pt idx="337">
                  <c:v>0.608232494392</c:v>
                </c:pt>
                <c:pt idx="338">
                  <c:v>0.54065110612699996</c:v>
                </c:pt>
                <c:pt idx="339">
                  <c:v>0.59696892968199999</c:v>
                </c:pt>
                <c:pt idx="340">
                  <c:v>0.59696892968199999</c:v>
                </c:pt>
                <c:pt idx="341">
                  <c:v>0.57444180026000002</c:v>
                </c:pt>
                <c:pt idx="342">
                  <c:v>0.57444180026000002</c:v>
                </c:pt>
                <c:pt idx="343">
                  <c:v>0.608232494392</c:v>
                </c:pt>
                <c:pt idx="344">
                  <c:v>0.56317823554900004</c:v>
                </c:pt>
                <c:pt idx="345">
                  <c:v>0.56317823554900004</c:v>
                </c:pt>
                <c:pt idx="346">
                  <c:v>0.52938754141599997</c:v>
                </c:pt>
                <c:pt idx="347">
                  <c:v>0.55191467083800005</c:v>
                </c:pt>
                <c:pt idx="348">
                  <c:v>0.58570536497100001</c:v>
                </c:pt>
                <c:pt idx="349">
                  <c:v>0.65328675323600005</c:v>
                </c:pt>
                <c:pt idx="350">
                  <c:v>0.65328675323600005</c:v>
                </c:pt>
                <c:pt idx="351">
                  <c:v>0.67581388265800002</c:v>
                </c:pt>
                <c:pt idx="352">
                  <c:v>0.73213170621300006</c:v>
                </c:pt>
                <c:pt idx="353">
                  <c:v>0.77718596505699999</c:v>
                </c:pt>
                <c:pt idx="354">
                  <c:v>0.75465883563500002</c:v>
                </c:pt>
                <c:pt idx="355">
                  <c:v>0.76592240034600001</c:v>
                </c:pt>
                <c:pt idx="356">
                  <c:v>0.66455031794700004</c:v>
                </c:pt>
                <c:pt idx="357">
                  <c:v>0.69834101207999999</c:v>
                </c:pt>
                <c:pt idx="358">
                  <c:v>0.77718596505699999</c:v>
                </c:pt>
                <c:pt idx="359">
                  <c:v>0.74339527092400004</c:v>
                </c:pt>
                <c:pt idx="360">
                  <c:v>0.69834101207999999</c:v>
                </c:pt>
                <c:pt idx="361">
                  <c:v>0.68707744736900001</c:v>
                </c:pt>
                <c:pt idx="362">
                  <c:v>0.65328675323600005</c:v>
                </c:pt>
                <c:pt idx="363">
                  <c:v>0.68707744736900001</c:v>
                </c:pt>
                <c:pt idx="364">
                  <c:v>0.66455031794700004</c:v>
                </c:pt>
                <c:pt idx="365">
                  <c:v>0.64202318852499995</c:v>
                </c:pt>
                <c:pt idx="366">
                  <c:v>0.68707744736900001</c:v>
                </c:pt>
                <c:pt idx="367">
                  <c:v>0.77718596505699999</c:v>
                </c:pt>
                <c:pt idx="368">
                  <c:v>0.78844952976799998</c:v>
                </c:pt>
                <c:pt idx="369">
                  <c:v>0.86729448274499998</c:v>
                </c:pt>
                <c:pt idx="370">
                  <c:v>1.024984388699</c:v>
                </c:pt>
                <c:pt idx="371">
                  <c:v>1.0813022122539999</c:v>
                </c:pt>
                <c:pt idx="372">
                  <c:v>1.1038293416760001</c:v>
                </c:pt>
                <c:pt idx="373">
                  <c:v>1.171410729942</c:v>
                </c:pt>
                <c:pt idx="374">
                  <c:v>1.14888360052</c:v>
                </c:pt>
                <c:pt idx="375">
                  <c:v>1.2164649887850001</c:v>
                </c:pt>
                <c:pt idx="376">
                  <c:v>1.284046377051</c:v>
                </c:pt>
                <c:pt idx="377">
                  <c:v>1.3516277653169999</c:v>
                </c:pt>
                <c:pt idx="378">
                  <c:v>1.475526977138</c:v>
                </c:pt>
                <c:pt idx="379">
                  <c:v>1.4867905418489999</c:v>
                </c:pt>
                <c:pt idx="380">
                  <c:v>1.5093176712709999</c:v>
                </c:pt>
                <c:pt idx="381">
                  <c:v>1.7120618360690001</c:v>
                </c:pt>
                <c:pt idx="382">
                  <c:v>1.7007982713580001</c:v>
                </c:pt>
                <c:pt idx="383">
                  <c:v>1.6670075772249999</c:v>
                </c:pt>
                <c:pt idx="384">
                  <c:v>1.633216883092</c:v>
                </c:pt>
                <c:pt idx="385">
                  <c:v>1.576899059537</c:v>
                </c:pt>
                <c:pt idx="386">
                  <c:v>1.588162624248</c:v>
                </c:pt>
                <c:pt idx="387">
                  <c:v>1.599426188959</c:v>
                </c:pt>
                <c:pt idx="388">
                  <c:v>1.5431083654040001</c:v>
                </c:pt>
                <c:pt idx="389">
                  <c:v>1.644480447803</c:v>
                </c:pt>
                <c:pt idx="390">
                  <c:v>1.6782711419359999</c:v>
                </c:pt>
                <c:pt idx="391">
                  <c:v>1.768379659624</c:v>
                </c:pt>
                <c:pt idx="392">
                  <c:v>1.7345889654910001</c:v>
                </c:pt>
                <c:pt idx="393">
                  <c:v>1.9260695655769999</c:v>
                </c:pt>
                <c:pt idx="394">
                  <c:v>2.049968777398</c:v>
                </c:pt>
                <c:pt idx="395">
                  <c:v>2.1062866009530001</c:v>
                </c:pt>
                <c:pt idx="396">
                  <c:v>2.173867989219</c:v>
                </c:pt>
                <c:pt idx="397">
                  <c:v>2.2865036363289999</c:v>
                </c:pt>
                <c:pt idx="398">
                  <c:v>2.613147012947</c:v>
                </c:pt>
                <c:pt idx="399">
                  <c:v>2.9059996954330001</c:v>
                </c:pt>
                <c:pt idx="400">
                  <c:v>3.0974802955189999</c:v>
                </c:pt>
                <c:pt idx="401">
                  <c:v>3.198852377918</c:v>
                </c:pt>
                <c:pt idx="402">
                  <c:v>3.412860107427</c:v>
                </c:pt>
                <c:pt idx="403">
                  <c:v>3.4579143662709999</c:v>
                </c:pt>
                <c:pt idx="404">
                  <c:v>3.5705500133810002</c:v>
                </c:pt>
                <c:pt idx="405">
                  <c:v>3.9197205194209999</c:v>
                </c:pt>
                <c:pt idx="406">
                  <c:v>4.144991813641</c:v>
                </c:pt>
                <c:pt idx="407">
                  <c:v>4.2914181548829999</c:v>
                </c:pt>
                <c:pt idx="408">
                  <c:v>4.5054258843920003</c:v>
                </c:pt>
                <c:pt idx="409">
                  <c:v>4.8771235198539999</c:v>
                </c:pt>
                <c:pt idx="410">
                  <c:v>5.3051389788719998</c:v>
                </c:pt>
                <c:pt idx="411">
                  <c:v>5.5078831436689999</c:v>
                </c:pt>
                <c:pt idx="412">
                  <c:v>6.0034799909530001</c:v>
                </c:pt>
                <c:pt idx="413">
                  <c:v>6.972146556097</c:v>
                </c:pt>
                <c:pt idx="414">
                  <c:v>7.7380689564439997</c:v>
                </c:pt>
                <c:pt idx="415">
                  <c:v>8.5715727450560006</c:v>
                </c:pt>
                <c:pt idx="416">
                  <c:v>9.4276036630910003</c:v>
                </c:pt>
                <c:pt idx="417">
                  <c:v>9.9232005103740004</c:v>
                </c:pt>
                <c:pt idx="418">
                  <c:v>10.520169440056</c:v>
                </c:pt>
                <c:pt idx="419">
                  <c:v>11.466308875778999</c:v>
                </c:pt>
                <c:pt idx="420">
                  <c:v>12.795409511674</c:v>
                </c:pt>
                <c:pt idx="421">
                  <c:v>14.045665194592999</c:v>
                </c:pt>
                <c:pt idx="422">
                  <c:v>14.451153524188999</c:v>
                </c:pt>
                <c:pt idx="423">
                  <c:v>15.746463465952001</c:v>
                </c:pt>
                <c:pt idx="424">
                  <c:v>16.602494383985999</c:v>
                </c:pt>
                <c:pt idx="425">
                  <c:v>17.785168678639</c:v>
                </c:pt>
                <c:pt idx="426">
                  <c:v>20.330734303321002</c:v>
                </c:pt>
                <c:pt idx="427">
                  <c:v>21.930160492279999</c:v>
                </c:pt>
                <c:pt idx="428">
                  <c:v>23.585904504795</c:v>
                </c:pt>
                <c:pt idx="429">
                  <c:v>26.063888741210999</c:v>
                </c:pt>
                <c:pt idx="430">
                  <c:v>27.055082435776999</c:v>
                </c:pt>
                <c:pt idx="431">
                  <c:v>28.12512108332</c:v>
                </c:pt>
                <c:pt idx="432">
                  <c:v>28.958624871933001</c:v>
                </c:pt>
                <c:pt idx="433">
                  <c:v>30.039927084186999</c:v>
                </c:pt>
                <c:pt idx="434">
                  <c:v>31.763252484967001</c:v>
                </c:pt>
                <c:pt idx="435">
                  <c:v>32.822027567798997</c:v>
                </c:pt>
                <c:pt idx="436">
                  <c:v>33.993438297741001</c:v>
                </c:pt>
                <c:pt idx="437">
                  <c:v>36.065934204561998</c:v>
                </c:pt>
                <c:pt idx="438">
                  <c:v>37.226081369793</c:v>
                </c:pt>
                <c:pt idx="439">
                  <c:v>37.935685946584996</c:v>
                </c:pt>
                <c:pt idx="440">
                  <c:v>40.729049994908003</c:v>
                </c:pt>
                <c:pt idx="441">
                  <c:v>41.990569242538001</c:v>
                </c:pt>
                <c:pt idx="442">
                  <c:v>41.934251418983003</c:v>
                </c:pt>
                <c:pt idx="443">
                  <c:v>43.725158208029001</c:v>
                </c:pt>
                <c:pt idx="444">
                  <c:v>45.696282032451002</c:v>
                </c:pt>
                <c:pt idx="445">
                  <c:v>46.924010585947997</c:v>
                </c:pt>
                <c:pt idx="446">
                  <c:v>48.759971633837999</c:v>
                </c:pt>
                <c:pt idx="447">
                  <c:v>49.672320375428001</c:v>
                </c:pt>
                <c:pt idx="448">
                  <c:v>50.798676846526</c:v>
                </c:pt>
                <c:pt idx="449">
                  <c:v>53.873630012623998</c:v>
                </c:pt>
                <c:pt idx="450">
                  <c:v>54.662079542392</c:v>
                </c:pt>
                <c:pt idx="451">
                  <c:v>55.596955413403997</c:v>
                </c:pt>
                <c:pt idx="452">
                  <c:v>56.070025131264998</c:v>
                </c:pt>
                <c:pt idx="453">
                  <c:v>55.979916613576997</c:v>
                </c:pt>
                <c:pt idx="454">
                  <c:v>56.824683966900999</c:v>
                </c:pt>
                <c:pt idx="455">
                  <c:v>56.498040590282002</c:v>
                </c:pt>
                <c:pt idx="456">
                  <c:v>56.148870084241999</c:v>
                </c:pt>
                <c:pt idx="457">
                  <c:v>56.914792484589</c:v>
                </c:pt>
                <c:pt idx="458">
                  <c:v>55.428001942739002</c:v>
                </c:pt>
                <c:pt idx="459">
                  <c:v>54.526916765861003</c:v>
                </c:pt>
                <c:pt idx="460">
                  <c:v>54.098901306842997</c:v>
                </c:pt>
                <c:pt idx="461">
                  <c:v>52.296730953085998</c:v>
                </c:pt>
                <c:pt idx="462">
                  <c:v>51.485754293896001</c:v>
                </c:pt>
                <c:pt idx="463">
                  <c:v>50.911312493635997</c:v>
                </c:pt>
                <c:pt idx="464">
                  <c:v>48.917661539792</c:v>
                </c:pt>
                <c:pt idx="465">
                  <c:v>48.962715798635998</c:v>
                </c:pt>
                <c:pt idx="466">
                  <c:v>48.140475574733998</c:v>
                </c:pt>
                <c:pt idx="467">
                  <c:v>46.721266421149998</c:v>
                </c:pt>
                <c:pt idx="468">
                  <c:v>46.067979667914003</c:v>
                </c:pt>
                <c:pt idx="469">
                  <c:v>45.088049538058002</c:v>
                </c:pt>
                <c:pt idx="470">
                  <c:v>43.263352054879</c:v>
                </c:pt>
                <c:pt idx="471">
                  <c:v>41.922987854272002</c:v>
                </c:pt>
                <c:pt idx="472">
                  <c:v>39.839228382740998</c:v>
                </c:pt>
                <c:pt idx="473">
                  <c:v>38.420019229156999</c:v>
                </c:pt>
                <c:pt idx="474">
                  <c:v>37.755468911209</c:v>
                </c:pt>
                <c:pt idx="475">
                  <c:v>35.705500133811</c:v>
                </c:pt>
                <c:pt idx="476">
                  <c:v>34.151128203695002</c:v>
                </c:pt>
                <c:pt idx="477">
                  <c:v>32.776973308955</c:v>
                </c:pt>
                <c:pt idx="478">
                  <c:v>30.738268096268001</c:v>
                </c:pt>
                <c:pt idx="479">
                  <c:v>27.471834330082999</c:v>
                </c:pt>
                <c:pt idx="480">
                  <c:v>26.886128965112</c:v>
                </c:pt>
                <c:pt idx="481">
                  <c:v>26.413059247250999</c:v>
                </c:pt>
                <c:pt idx="482">
                  <c:v>26.334214294273998</c:v>
                </c:pt>
                <c:pt idx="483">
                  <c:v>25.658400411614998</c:v>
                </c:pt>
                <c:pt idx="484">
                  <c:v>25.241648517308999</c:v>
                </c:pt>
                <c:pt idx="485">
                  <c:v>24.813633058292002</c:v>
                </c:pt>
                <c:pt idx="486">
                  <c:v>25.320493470285999</c:v>
                </c:pt>
                <c:pt idx="487">
                  <c:v>25.027640787799999</c:v>
                </c:pt>
                <c:pt idx="488">
                  <c:v>24.284245516875</c:v>
                </c:pt>
                <c:pt idx="489">
                  <c:v>21.727416327482999</c:v>
                </c:pt>
                <c:pt idx="490">
                  <c:v>20.612323421096001</c:v>
                </c:pt>
                <c:pt idx="491">
                  <c:v>19.609866161818001</c:v>
                </c:pt>
                <c:pt idx="492">
                  <c:v>18.832680196759998</c:v>
                </c:pt>
                <c:pt idx="493">
                  <c:v>18.314556220055</c:v>
                </c:pt>
                <c:pt idx="494">
                  <c:v>18.078021361125</c:v>
                </c:pt>
                <c:pt idx="495">
                  <c:v>17.447261737310001</c:v>
                </c:pt>
                <c:pt idx="496">
                  <c:v>16.050579713148</c:v>
                </c:pt>
                <c:pt idx="497">
                  <c:v>15.205812359824</c:v>
                </c:pt>
                <c:pt idx="498">
                  <c:v>13.842921029796001</c:v>
                </c:pt>
                <c:pt idx="499">
                  <c:v>13.245952100114</c:v>
                </c:pt>
                <c:pt idx="500">
                  <c:v>12.457502570345</c:v>
                </c:pt>
                <c:pt idx="501">
                  <c:v>11.646525911154001</c:v>
                </c:pt>
                <c:pt idx="502">
                  <c:v>11.331146099247</c:v>
                </c:pt>
                <c:pt idx="503">
                  <c:v>11.590208087599001</c:v>
                </c:pt>
                <c:pt idx="504">
                  <c:v>11.432518181646</c:v>
                </c:pt>
                <c:pt idx="505">
                  <c:v>12.254758405546999</c:v>
                </c:pt>
                <c:pt idx="506">
                  <c:v>13.031944370605</c:v>
                </c:pt>
                <c:pt idx="507">
                  <c:v>14.169564406414001</c:v>
                </c:pt>
                <c:pt idx="508">
                  <c:v>14.980541065604999</c:v>
                </c:pt>
                <c:pt idx="509">
                  <c:v>16.140688230835998</c:v>
                </c:pt>
                <c:pt idx="510">
                  <c:v>17.695060160951002</c:v>
                </c:pt>
                <c:pt idx="511">
                  <c:v>19.159323573379002</c:v>
                </c:pt>
                <c:pt idx="512">
                  <c:v>20.724959068204999</c:v>
                </c:pt>
                <c:pt idx="513">
                  <c:v>22.831245669158999</c:v>
                </c:pt>
                <c:pt idx="514">
                  <c:v>25.005113658378001</c:v>
                </c:pt>
                <c:pt idx="515">
                  <c:v>26.176524388320001</c:v>
                </c:pt>
                <c:pt idx="516">
                  <c:v>27.325407988839999</c:v>
                </c:pt>
                <c:pt idx="517">
                  <c:v>29.792128660545</c:v>
                </c:pt>
                <c:pt idx="518">
                  <c:v>33.024771732597003</c:v>
                </c:pt>
                <c:pt idx="519">
                  <c:v>35.457701710168998</c:v>
                </c:pt>
                <c:pt idx="520">
                  <c:v>36.640376004822002</c:v>
                </c:pt>
                <c:pt idx="521">
                  <c:v>37.935685946584996</c:v>
                </c:pt>
                <c:pt idx="522">
                  <c:v>38.814243994042002</c:v>
                </c:pt>
                <c:pt idx="523">
                  <c:v>39.118360241238001</c:v>
                </c:pt>
                <c:pt idx="524">
                  <c:v>41.247173971613996</c:v>
                </c:pt>
                <c:pt idx="525">
                  <c:v>41.66392586592</c:v>
                </c:pt>
                <c:pt idx="526">
                  <c:v>42.846600160572997</c:v>
                </c:pt>
                <c:pt idx="527">
                  <c:v>43.612522560919999</c:v>
                </c:pt>
                <c:pt idx="528">
                  <c:v>43.770212466872998</c:v>
                </c:pt>
                <c:pt idx="529">
                  <c:v>43.454832654965998</c:v>
                </c:pt>
                <c:pt idx="530">
                  <c:v>43.387251266699998</c:v>
                </c:pt>
                <c:pt idx="531">
                  <c:v>42.891654419417002</c:v>
                </c:pt>
                <c:pt idx="532">
                  <c:v>41.528763089388001</c:v>
                </c:pt>
                <c:pt idx="533">
                  <c:v>39.692802041497998</c:v>
                </c:pt>
                <c:pt idx="534">
                  <c:v>38.363701405602001</c:v>
                </c:pt>
                <c:pt idx="535">
                  <c:v>36.201096981093997</c:v>
                </c:pt>
                <c:pt idx="536">
                  <c:v>35.209903286527002</c:v>
                </c:pt>
                <c:pt idx="537">
                  <c:v>36.595321745977998</c:v>
                </c:pt>
                <c:pt idx="538">
                  <c:v>34.860732780486998</c:v>
                </c:pt>
                <c:pt idx="539">
                  <c:v>34.106073944850998</c:v>
                </c:pt>
                <c:pt idx="540">
                  <c:v>34.624197921555997</c:v>
                </c:pt>
                <c:pt idx="541">
                  <c:v>33.925856909476003</c:v>
                </c:pt>
                <c:pt idx="542">
                  <c:v>32.675601226556999</c:v>
                </c:pt>
                <c:pt idx="543">
                  <c:v>32.022314473320002</c:v>
                </c:pt>
                <c:pt idx="544">
                  <c:v>31.245128508261999</c:v>
                </c:pt>
                <c:pt idx="545">
                  <c:v>29.724547272279999</c:v>
                </c:pt>
                <c:pt idx="546">
                  <c:v>28.260283859851999</c:v>
                </c:pt>
                <c:pt idx="547">
                  <c:v>26.199051517741999</c:v>
                </c:pt>
                <c:pt idx="548">
                  <c:v>24.464462552251</c:v>
                </c:pt>
                <c:pt idx="549">
                  <c:v>23.788648669592</c:v>
                </c:pt>
                <c:pt idx="550">
                  <c:v>22.448284468985001</c:v>
                </c:pt>
                <c:pt idx="551">
                  <c:v>19.936509538437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Novych_hosp_7dni_100_000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53</c:f>
              <c:numCache>
                <c:formatCode>m/d/yyyy</c:formatCode>
                <c:ptCount val="55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</c:numCache>
            </c:numRef>
          </c:cat>
          <c:val>
            <c:numRef>
              <c:f>Sheet1!$B$2:$B$553</c:f>
              <c:numCache>
                <c:formatCode>0%</c:formatCode>
                <c:ptCount val="552"/>
                <c:pt idx="0">
                  <c:v>0.106557</c:v>
                </c:pt>
                <c:pt idx="1">
                  <c:v>6.1538000000000002E-2</c:v>
                </c:pt>
                <c:pt idx="2">
                  <c:v>0.152671</c:v>
                </c:pt>
                <c:pt idx="3">
                  <c:v>0.29599900000000001</c:v>
                </c:pt>
                <c:pt idx="4">
                  <c:v>0.40625</c:v>
                </c:pt>
                <c:pt idx="5">
                  <c:v>0.30281599999999997</c:v>
                </c:pt>
                <c:pt idx="6">
                  <c:v>0.368421</c:v>
                </c:pt>
                <c:pt idx="7">
                  <c:v>0.40522799999999998</c:v>
                </c:pt>
                <c:pt idx="8">
                  <c:v>0.40229799999999999</c:v>
                </c:pt>
                <c:pt idx="9">
                  <c:v>0.30810799999999999</c:v>
                </c:pt>
                <c:pt idx="10">
                  <c:v>0.36923</c:v>
                </c:pt>
                <c:pt idx="11">
                  <c:v>0.318407</c:v>
                </c:pt>
                <c:pt idx="12">
                  <c:v>0.25108200000000003</c:v>
                </c:pt>
                <c:pt idx="13">
                  <c:v>0.25531900000000002</c:v>
                </c:pt>
                <c:pt idx="14">
                  <c:v>0.32061000000000001</c:v>
                </c:pt>
                <c:pt idx="15">
                  <c:v>0.34532299999999999</c:v>
                </c:pt>
                <c:pt idx="16">
                  <c:v>0.57807299999999995</c:v>
                </c:pt>
                <c:pt idx="17">
                  <c:v>0.68120800000000004</c:v>
                </c:pt>
                <c:pt idx="18">
                  <c:v>0.74838700000000002</c:v>
                </c:pt>
                <c:pt idx="19">
                  <c:v>0.62756500000000004</c:v>
                </c:pt>
                <c:pt idx="20">
                  <c:v>0.63270700000000002</c:v>
                </c:pt>
                <c:pt idx="21">
                  <c:v>0.517814</c:v>
                </c:pt>
                <c:pt idx="22">
                  <c:v>0.37720999999999999</c:v>
                </c:pt>
                <c:pt idx="23">
                  <c:v>0.26785700000000001</c:v>
                </c:pt>
                <c:pt idx="24">
                  <c:v>0.32635199999999998</c:v>
                </c:pt>
                <c:pt idx="25">
                  <c:v>0.32833299999999999</c:v>
                </c:pt>
                <c:pt idx="26">
                  <c:v>0.29500700000000002</c:v>
                </c:pt>
                <c:pt idx="27">
                  <c:v>0.186889</c:v>
                </c:pt>
                <c:pt idx="28">
                  <c:v>0.21520600000000001</c:v>
                </c:pt>
                <c:pt idx="29">
                  <c:v>0.188165</c:v>
                </c:pt>
                <c:pt idx="30">
                  <c:v>0.25325399999999998</c:v>
                </c:pt>
                <c:pt idx="31">
                  <c:v>0.29919400000000002</c:v>
                </c:pt>
                <c:pt idx="32">
                  <c:v>0.28008699999999997</c:v>
                </c:pt>
                <c:pt idx="33">
                  <c:v>0.27481699999999998</c:v>
                </c:pt>
                <c:pt idx="34">
                  <c:v>0.34823900000000002</c:v>
                </c:pt>
                <c:pt idx="35">
                  <c:v>0.33216400000000001</c:v>
                </c:pt>
                <c:pt idx="36">
                  <c:v>0.37489600000000001</c:v>
                </c:pt>
                <c:pt idx="37">
                  <c:v>0.43512600000000001</c:v>
                </c:pt>
                <c:pt idx="38">
                  <c:v>0.54808400000000002</c:v>
                </c:pt>
                <c:pt idx="39">
                  <c:v>0.57666399999999995</c:v>
                </c:pt>
                <c:pt idx="40">
                  <c:v>0.444664</c:v>
                </c:pt>
                <c:pt idx="41">
                  <c:v>0.39999899999999999</c:v>
                </c:pt>
                <c:pt idx="42">
                  <c:v>0.38336900000000002</c:v>
                </c:pt>
                <c:pt idx="43">
                  <c:v>0.37357099999999999</c:v>
                </c:pt>
                <c:pt idx="44">
                  <c:v>0.33226499999999998</c:v>
                </c:pt>
                <c:pt idx="45">
                  <c:v>0.38440999999999997</c:v>
                </c:pt>
                <c:pt idx="46">
                  <c:v>0.41991499999999998</c:v>
                </c:pt>
                <c:pt idx="47">
                  <c:v>0.32483299999999998</c:v>
                </c:pt>
                <c:pt idx="48">
                  <c:v>0.31937100000000002</c:v>
                </c:pt>
                <c:pt idx="49">
                  <c:v>0.32063199999999997</c:v>
                </c:pt>
                <c:pt idx="50">
                  <c:v>0.370336</c:v>
                </c:pt>
                <c:pt idx="51">
                  <c:v>0.37746600000000002</c:v>
                </c:pt>
                <c:pt idx="52">
                  <c:v>0.418848</c:v>
                </c:pt>
                <c:pt idx="53">
                  <c:v>0.395621</c:v>
                </c:pt>
                <c:pt idx="54">
                  <c:v>0.30421599999999999</c:v>
                </c:pt>
                <c:pt idx="55">
                  <c:v>0.32064999999999999</c:v>
                </c:pt>
                <c:pt idx="56">
                  <c:v>0.263955</c:v>
                </c:pt>
                <c:pt idx="57">
                  <c:v>0.175122</c:v>
                </c:pt>
                <c:pt idx="58">
                  <c:v>0.14158599999999999</c:v>
                </c:pt>
                <c:pt idx="59">
                  <c:v>0.167463</c:v>
                </c:pt>
                <c:pt idx="60">
                  <c:v>0.12489699999999999</c:v>
                </c:pt>
                <c:pt idx="61">
                  <c:v>7.5969999999999996E-3</c:v>
                </c:pt>
                <c:pt idx="62">
                  <c:v>-4.6713999999999999E-2</c:v>
                </c:pt>
                <c:pt idx="63">
                  <c:v>-6.2673999999999994E-2</c:v>
                </c:pt>
                <c:pt idx="64">
                  <c:v>-6.6594E-2</c:v>
                </c:pt>
                <c:pt idx="65">
                  <c:v>-0.139873</c:v>
                </c:pt>
                <c:pt idx="66">
                  <c:v>-0.15157499999999999</c:v>
                </c:pt>
                <c:pt idx="67">
                  <c:v>-0.16533200000000001</c:v>
                </c:pt>
                <c:pt idx="68">
                  <c:v>-0.223602</c:v>
                </c:pt>
                <c:pt idx="69">
                  <c:v>-0.24604100000000001</c:v>
                </c:pt>
                <c:pt idx="70">
                  <c:v>-0.25917699999999999</c:v>
                </c:pt>
                <c:pt idx="71">
                  <c:v>-0.29733500000000002</c:v>
                </c:pt>
                <c:pt idx="72">
                  <c:v>-0.30607600000000001</c:v>
                </c:pt>
                <c:pt idx="73">
                  <c:v>-0.25824900000000001</c:v>
                </c:pt>
                <c:pt idx="74">
                  <c:v>-0.25228800000000001</c:v>
                </c:pt>
                <c:pt idx="75">
                  <c:v>-0.30042600000000003</c:v>
                </c:pt>
                <c:pt idx="76">
                  <c:v>-0.30111900000000003</c:v>
                </c:pt>
                <c:pt idx="77">
                  <c:v>-0.33646500000000001</c:v>
                </c:pt>
                <c:pt idx="78">
                  <c:v>-0.30659900000000001</c:v>
                </c:pt>
                <c:pt idx="79">
                  <c:v>-0.31911</c:v>
                </c:pt>
                <c:pt idx="80">
                  <c:v>-0.312477</c:v>
                </c:pt>
                <c:pt idx="81">
                  <c:v>-0.30899300000000002</c:v>
                </c:pt>
                <c:pt idx="82">
                  <c:v>-0.34926499999999999</c:v>
                </c:pt>
                <c:pt idx="83">
                  <c:v>-0.31464300000000001</c:v>
                </c:pt>
                <c:pt idx="84">
                  <c:v>-0.254498</c:v>
                </c:pt>
                <c:pt idx="85">
                  <c:v>-0.277424</c:v>
                </c:pt>
                <c:pt idx="86">
                  <c:v>-0.27415899999999999</c:v>
                </c:pt>
                <c:pt idx="87">
                  <c:v>-0.20863899999999999</c:v>
                </c:pt>
                <c:pt idx="88">
                  <c:v>-0.19244</c:v>
                </c:pt>
                <c:pt idx="89">
                  <c:v>-0.22994400000000001</c:v>
                </c:pt>
                <c:pt idx="90">
                  <c:v>-0.230075</c:v>
                </c:pt>
                <c:pt idx="91">
                  <c:v>-0.28029900000000002</c:v>
                </c:pt>
                <c:pt idx="92">
                  <c:v>-0.237844</c:v>
                </c:pt>
                <c:pt idx="93">
                  <c:v>-0.19472400000000001</c:v>
                </c:pt>
                <c:pt idx="94">
                  <c:v>-0.120088</c:v>
                </c:pt>
                <c:pt idx="95">
                  <c:v>-0.109379</c:v>
                </c:pt>
                <c:pt idx="96">
                  <c:v>-0.17314599999999999</c:v>
                </c:pt>
                <c:pt idx="97">
                  <c:v>-0.148058</c:v>
                </c:pt>
                <c:pt idx="98">
                  <c:v>-9.9293999999999993E-2</c:v>
                </c:pt>
                <c:pt idx="99">
                  <c:v>-8.2402000000000003E-2</c:v>
                </c:pt>
                <c:pt idx="100">
                  <c:v>-0.10145700000000001</c:v>
                </c:pt>
                <c:pt idx="101">
                  <c:v>-7.0113999999999996E-2</c:v>
                </c:pt>
                <c:pt idx="102">
                  <c:v>-5.6346E-2</c:v>
                </c:pt>
                <c:pt idx="103">
                  <c:v>-0.103531</c:v>
                </c:pt>
                <c:pt idx="104">
                  <c:v>-7.9033000000000006E-2</c:v>
                </c:pt>
                <c:pt idx="105">
                  <c:v>-7.1124000000000007E-2</c:v>
                </c:pt>
                <c:pt idx="106">
                  <c:v>-9.9553000000000003E-2</c:v>
                </c:pt>
                <c:pt idx="107">
                  <c:v>-8.0074000000000006E-2</c:v>
                </c:pt>
                <c:pt idx="108">
                  <c:v>-3.0419999999999999E-2</c:v>
                </c:pt>
                <c:pt idx="109">
                  <c:v>-5.3751E-2</c:v>
                </c:pt>
                <c:pt idx="110">
                  <c:v>-0.11018</c:v>
                </c:pt>
                <c:pt idx="111">
                  <c:v>-0.11963799999999999</c:v>
                </c:pt>
                <c:pt idx="112">
                  <c:v>-0.10553999999999999</c:v>
                </c:pt>
                <c:pt idx="113">
                  <c:v>-5.8541999999999997E-2</c:v>
                </c:pt>
                <c:pt idx="114">
                  <c:v>-0.10657899999999999</c:v>
                </c:pt>
                <c:pt idx="115">
                  <c:v>-8.6277999999999994E-2</c:v>
                </c:pt>
                <c:pt idx="116">
                  <c:v>-3.5027999999999997E-2</c:v>
                </c:pt>
                <c:pt idx="117">
                  <c:v>-3.6115000000000001E-2</c:v>
                </c:pt>
                <c:pt idx="118">
                  <c:v>5.8356999999999999E-2</c:v>
                </c:pt>
                <c:pt idx="119">
                  <c:v>0.106848</c:v>
                </c:pt>
                <c:pt idx="120">
                  <c:v>0.181421</c:v>
                </c:pt>
                <c:pt idx="121">
                  <c:v>0.30160199999999998</c:v>
                </c:pt>
                <c:pt idx="122">
                  <c:v>0.32775100000000001</c:v>
                </c:pt>
                <c:pt idx="123">
                  <c:v>0.28044200000000002</c:v>
                </c:pt>
                <c:pt idx="124">
                  <c:v>0.121599</c:v>
                </c:pt>
                <c:pt idx="125">
                  <c:v>8.7549000000000002E-2</c:v>
                </c:pt>
                <c:pt idx="126">
                  <c:v>6.7903000000000005E-2</c:v>
                </c:pt>
                <c:pt idx="127">
                  <c:v>6.8976999999999997E-2</c:v>
                </c:pt>
                <c:pt idx="128">
                  <c:v>5.8032E-2</c:v>
                </c:pt>
                <c:pt idx="129">
                  <c:v>5.8881000000000003E-2</c:v>
                </c:pt>
                <c:pt idx="130">
                  <c:v>2.0240000000000001E-2</c:v>
                </c:pt>
                <c:pt idx="131">
                  <c:v>-9.3076999999999993E-2</c:v>
                </c:pt>
                <c:pt idx="132">
                  <c:v>-0.14246200000000001</c:v>
                </c:pt>
                <c:pt idx="133">
                  <c:v>-0.151893</c:v>
                </c:pt>
                <c:pt idx="134">
                  <c:v>-0.199714</c:v>
                </c:pt>
                <c:pt idx="135">
                  <c:v>-0.23802000000000001</c:v>
                </c:pt>
                <c:pt idx="136">
                  <c:v>-0.24900700000000001</c:v>
                </c:pt>
                <c:pt idx="137">
                  <c:v>-0.25184499999999999</c:v>
                </c:pt>
                <c:pt idx="138">
                  <c:v>-0.29900900000000002</c:v>
                </c:pt>
                <c:pt idx="139">
                  <c:v>-0.28656300000000001</c:v>
                </c:pt>
                <c:pt idx="140">
                  <c:v>-0.28754099999999999</c:v>
                </c:pt>
                <c:pt idx="141">
                  <c:v>-0.26235900000000001</c:v>
                </c:pt>
                <c:pt idx="142">
                  <c:v>-0.260104</c:v>
                </c:pt>
                <c:pt idx="143">
                  <c:v>-0.218582</c:v>
                </c:pt>
                <c:pt idx="144">
                  <c:v>-0.193658</c:v>
                </c:pt>
                <c:pt idx="145">
                  <c:v>-0.23372599999999999</c:v>
                </c:pt>
                <c:pt idx="146">
                  <c:v>-0.23106699999999999</c:v>
                </c:pt>
                <c:pt idx="147">
                  <c:v>-0.19220699999999999</c:v>
                </c:pt>
                <c:pt idx="148">
                  <c:v>-0.18903</c:v>
                </c:pt>
                <c:pt idx="149">
                  <c:v>-0.193774</c:v>
                </c:pt>
                <c:pt idx="150">
                  <c:v>-0.16334699999999999</c:v>
                </c:pt>
                <c:pt idx="151">
                  <c:v>-0.15639</c:v>
                </c:pt>
                <c:pt idx="152">
                  <c:v>-0.20327200000000001</c:v>
                </c:pt>
                <c:pt idx="153">
                  <c:v>-0.16947100000000001</c:v>
                </c:pt>
                <c:pt idx="154">
                  <c:v>-0.16328899999999999</c:v>
                </c:pt>
                <c:pt idx="155">
                  <c:v>-0.13761000000000001</c:v>
                </c:pt>
                <c:pt idx="156">
                  <c:v>-0.124795</c:v>
                </c:pt>
                <c:pt idx="157">
                  <c:v>-7.2904999999999998E-2</c:v>
                </c:pt>
                <c:pt idx="158">
                  <c:v>-4.9822999999999999E-2</c:v>
                </c:pt>
                <c:pt idx="159">
                  <c:v>-0.120104</c:v>
                </c:pt>
                <c:pt idx="160">
                  <c:v>-0.129603</c:v>
                </c:pt>
                <c:pt idx="161">
                  <c:v>-0.10455200000000001</c:v>
                </c:pt>
                <c:pt idx="162">
                  <c:v>-0.10964500000000001</c:v>
                </c:pt>
                <c:pt idx="163">
                  <c:v>-0.12367300000000001</c:v>
                </c:pt>
                <c:pt idx="164">
                  <c:v>-9.1233999999999996E-2</c:v>
                </c:pt>
                <c:pt idx="165">
                  <c:v>-9.3007999999999993E-2</c:v>
                </c:pt>
                <c:pt idx="166">
                  <c:v>-0.13547999999999999</c:v>
                </c:pt>
                <c:pt idx="167">
                  <c:v>-0.105242</c:v>
                </c:pt>
                <c:pt idx="168">
                  <c:v>-8.0644999999999994E-2</c:v>
                </c:pt>
                <c:pt idx="169">
                  <c:v>-4.8730999999999997E-2</c:v>
                </c:pt>
                <c:pt idx="170">
                  <c:v>-2.1680999999999999E-2</c:v>
                </c:pt>
                <c:pt idx="171">
                  <c:v>3.8285E-2</c:v>
                </c:pt>
                <c:pt idx="172">
                  <c:v>4.3657000000000001E-2</c:v>
                </c:pt>
                <c:pt idx="173">
                  <c:v>-1.0213E-2</c:v>
                </c:pt>
                <c:pt idx="174">
                  <c:v>2.1288000000000001E-2</c:v>
                </c:pt>
                <c:pt idx="175">
                  <c:v>2.1018999999999999E-2</c:v>
                </c:pt>
                <c:pt idx="176">
                  <c:v>1.3518000000000001E-2</c:v>
                </c:pt>
                <c:pt idx="177">
                  <c:v>2.3619000000000001E-2</c:v>
                </c:pt>
                <c:pt idx="178">
                  <c:v>5.8802E-2</c:v>
                </c:pt>
                <c:pt idx="179">
                  <c:v>6.5585000000000004E-2</c:v>
                </c:pt>
                <c:pt idx="180">
                  <c:v>-6.6559999999999996E-3</c:v>
                </c:pt>
                <c:pt idx="181">
                  <c:v>3.9709999999999997E-3</c:v>
                </c:pt>
                <c:pt idx="182">
                  <c:v>2.5611999999999999E-2</c:v>
                </c:pt>
                <c:pt idx="183">
                  <c:v>8.1359999999999991E-3</c:v>
                </c:pt>
                <c:pt idx="184">
                  <c:v>-2.1968999999999999E-2</c:v>
                </c:pt>
                <c:pt idx="185">
                  <c:v>-9.5230000000000002E-3</c:v>
                </c:pt>
                <c:pt idx="186">
                  <c:v>-2.0232E-2</c:v>
                </c:pt>
                <c:pt idx="187">
                  <c:v>-9.5327999999999996E-2</c:v>
                </c:pt>
                <c:pt idx="188">
                  <c:v>-0.123238</c:v>
                </c:pt>
                <c:pt idx="189">
                  <c:v>-0.13181899999999999</c:v>
                </c:pt>
                <c:pt idx="190">
                  <c:v>-0.118508</c:v>
                </c:pt>
                <c:pt idx="191">
                  <c:v>-0.11244800000000001</c:v>
                </c:pt>
                <c:pt idx="192">
                  <c:v>-8.3002000000000006E-2</c:v>
                </c:pt>
                <c:pt idx="193">
                  <c:v>-8.4551000000000001E-2</c:v>
                </c:pt>
                <c:pt idx="194">
                  <c:v>-0.145177</c:v>
                </c:pt>
                <c:pt idx="195">
                  <c:v>-0.11949899999999999</c:v>
                </c:pt>
                <c:pt idx="196">
                  <c:v>-0.12368899999999999</c:v>
                </c:pt>
                <c:pt idx="197">
                  <c:v>-0.148397</c:v>
                </c:pt>
                <c:pt idx="198">
                  <c:v>-0.16947999999999999</c:v>
                </c:pt>
                <c:pt idx="199">
                  <c:v>-0.17177999999999999</c:v>
                </c:pt>
                <c:pt idx="200">
                  <c:v>-0.18452099999999999</c:v>
                </c:pt>
                <c:pt idx="201">
                  <c:v>-0.23922499999999999</c:v>
                </c:pt>
                <c:pt idx="202">
                  <c:v>-0.24040700000000001</c:v>
                </c:pt>
                <c:pt idx="203">
                  <c:v>-0.24873799999999999</c:v>
                </c:pt>
                <c:pt idx="204">
                  <c:v>-0.24757000000000001</c:v>
                </c:pt>
                <c:pt idx="205">
                  <c:v>-0.24818999999999999</c:v>
                </c:pt>
                <c:pt idx="206">
                  <c:v>-0.21440100000000001</c:v>
                </c:pt>
                <c:pt idx="207">
                  <c:v>-0.196239</c:v>
                </c:pt>
                <c:pt idx="208">
                  <c:v>-0.253077</c:v>
                </c:pt>
                <c:pt idx="209">
                  <c:v>-0.244424</c:v>
                </c:pt>
                <c:pt idx="210">
                  <c:v>-0.23735400000000001</c:v>
                </c:pt>
                <c:pt idx="211">
                  <c:v>-0.22936599999999999</c:v>
                </c:pt>
                <c:pt idx="212">
                  <c:v>-0.234596</c:v>
                </c:pt>
                <c:pt idx="213">
                  <c:v>-0.23597399999999999</c:v>
                </c:pt>
                <c:pt idx="214">
                  <c:v>-0.239924</c:v>
                </c:pt>
                <c:pt idx="215">
                  <c:v>-0.28093499999999999</c:v>
                </c:pt>
                <c:pt idx="216">
                  <c:v>-0.31123099999999998</c:v>
                </c:pt>
                <c:pt idx="217">
                  <c:v>-0.237737</c:v>
                </c:pt>
                <c:pt idx="218">
                  <c:v>-0.244782</c:v>
                </c:pt>
                <c:pt idx="219">
                  <c:v>-0.25057200000000002</c:v>
                </c:pt>
                <c:pt idx="220">
                  <c:v>-0.21878700000000001</c:v>
                </c:pt>
                <c:pt idx="221">
                  <c:v>-0.23675499999999999</c:v>
                </c:pt>
                <c:pt idx="222">
                  <c:v>-0.25668299999999999</c:v>
                </c:pt>
                <c:pt idx="223">
                  <c:v>-0.26330599999999998</c:v>
                </c:pt>
                <c:pt idx="224">
                  <c:v>-0.37019299999999999</c:v>
                </c:pt>
                <c:pt idx="225">
                  <c:v>-0.369479</c:v>
                </c:pt>
                <c:pt idx="226">
                  <c:v>-0.36607899999999999</c:v>
                </c:pt>
                <c:pt idx="227">
                  <c:v>-0.36623</c:v>
                </c:pt>
                <c:pt idx="228">
                  <c:v>-0.347111</c:v>
                </c:pt>
                <c:pt idx="229">
                  <c:v>-0.37101499999999998</c:v>
                </c:pt>
                <c:pt idx="230">
                  <c:v>-0.38539299999999999</c:v>
                </c:pt>
                <c:pt idx="231">
                  <c:v>-0.28425899999999998</c:v>
                </c:pt>
                <c:pt idx="232">
                  <c:v>-0.25859900000000002</c:v>
                </c:pt>
                <c:pt idx="233">
                  <c:v>-0.26114399999999999</c:v>
                </c:pt>
                <c:pt idx="234">
                  <c:v>-0.231686</c:v>
                </c:pt>
                <c:pt idx="235">
                  <c:v>-0.245111</c:v>
                </c:pt>
                <c:pt idx="236">
                  <c:v>-0.30398599999999998</c:v>
                </c:pt>
                <c:pt idx="237">
                  <c:v>-0.32144099999999998</c:v>
                </c:pt>
                <c:pt idx="238">
                  <c:v>-0.346331</c:v>
                </c:pt>
                <c:pt idx="239">
                  <c:v>-0.362126</c:v>
                </c:pt>
                <c:pt idx="240">
                  <c:v>-0.34814200000000001</c:v>
                </c:pt>
                <c:pt idx="241">
                  <c:v>-0.32483499999999998</c:v>
                </c:pt>
                <c:pt idx="242">
                  <c:v>-0.30252400000000002</c:v>
                </c:pt>
                <c:pt idx="243">
                  <c:v>-0.32620500000000002</c:v>
                </c:pt>
                <c:pt idx="244">
                  <c:v>-0.26401400000000003</c:v>
                </c:pt>
                <c:pt idx="245">
                  <c:v>-0.25466699999999998</c:v>
                </c:pt>
                <c:pt idx="246">
                  <c:v>-0.24837200000000001</c:v>
                </c:pt>
                <c:pt idx="247">
                  <c:v>-0.26774500000000001</c:v>
                </c:pt>
                <c:pt idx="248">
                  <c:v>-0.23630300000000001</c:v>
                </c:pt>
                <c:pt idx="249">
                  <c:v>-0.26486999999999999</c:v>
                </c:pt>
                <c:pt idx="250">
                  <c:v>-0.341501</c:v>
                </c:pt>
                <c:pt idx="251">
                  <c:v>-0.36850699999999997</c:v>
                </c:pt>
                <c:pt idx="252">
                  <c:v>-0.37056099999999997</c:v>
                </c:pt>
                <c:pt idx="253">
                  <c:v>-0.36782199999999998</c:v>
                </c:pt>
                <c:pt idx="254">
                  <c:v>-0.36323699999999998</c:v>
                </c:pt>
                <c:pt idx="255">
                  <c:v>-0.36610100000000001</c:v>
                </c:pt>
                <c:pt idx="256">
                  <c:v>-0.35901</c:v>
                </c:pt>
                <c:pt idx="257">
                  <c:v>-0.407912</c:v>
                </c:pt>
                <c:pt idx="258">
                  <c:v>-0.38999899999999998</c:v>
                </c:pt>
                <c:pt idx="259">
                  <c:v>-0.392455</c:v>
                </c:pt>
                <c:pt idx="260">
                  <c:v>-0.42158499999999999</c:v>
                </c:pt>
                <c:pt idx="261">
                  <c:v>-0.44227300000000003</c:v>
                </c:pt>
                <c:pt idx="262">
                  <c:v>-0.38123699999999999</c:v>
                </c:pt>
                <c:pt idx="263">
                  <c:v>-0.39568300000000001</c:v>
                </c:pt>
                <c:pt idx="264">
                  <c:v>-0.44578299999999998</c:v>
                </c:pt>
                <c:pt idx="265">
                  <c:v>-0.460088</c:v>
                </c:pt>
                <c:pt idx="266">
                  <c:v>-0.47298899999999999</c:v>
                </c:pt>
                <c:pt idx="267">
                  <c:v>-0.41083199999999997</c:v>
                </c:pt>
                <c:pt idx="268">
                  <c:v>-0.42818000000000001</c:v>
                </c:pt>
                <c:pt idx="269">
                  <c:v>-0.445801</c:v>
                </c:pt>
                <c:pt idx="270">
                  <c:v>-0.43527500000000002</c:v>
                </c:pt>
                <c:pt idx="271">
                  <c:v>-0.43739800000000001</c:v>
                </c:pt>
                <c:pt idx="272">
                  <c:v>-0.37226199999999998</c:v>
                </c:pt>
                <c:pt idx="273">
                  <c:v>-0.38697300000000001</c:v>
                </c:pt>
                <c:pt idx="274">
                  <c:v>-0.427402</c:v>
                </c:pt>
                <c:pt idx="275">
                  <c:v>-0.44420599999999999</c:v>
                </c:pt>
                <c:pt idx="276">
                  <c:v>-0.36718699999999999</c:v>
                </c:pt>
                <c:pt idx="277">
                  <c:v>-0.36968000000000001</c:v>
                </c:pt>
                <c:pt idx="278">
                  <c:v>-0.45454499999999998</c:v>
                </c:pt>
                <c:pt idx="279">
                  <c:v>-0.53018299999999996</c:v>
                </c:pt>
                <c:pt idx="280">
                  <c:v>-0.51790599999999998</c:v>
                </c:pt>
                <c:pt idx="281">
                  <c:v>-0.50993299999999997</c:v>
                </c:pt>
                <c:pt idx="282">
                  <c:v>-0.49140800000000001</c:v>
                </c:pt>
                <c:pt idx="283">
                  <c:v>-0.51162700000000005</c:v>
                </c:pt>
                <c:pt idx="284">
                  <c:v>-0.522088</c:v>
                </c:pt>
                <c:pt idx="285">
                  <c:v>-0.53333299999999995</c:v>
                </c:pt>
                <c:pt idx="286">
                  <c:v>-0.44811299999999998</c:v>
                </c:pt>
                <c:pt idx="287">
                  <c:v>-0.50261699999999998</c:v>
                </c:pt>
                <c:pt idx="288">
                  <c:v>-0.49411699999999997</c:v>
                </c:pt>
                <c:pt idx="289">
                  <c:v>-0.44303700000000001</c:v>
                </c:pt>
                <c:pt idx="290">
                  <c:v>-0.350746</c:v>
                </c:pt>
                <c:pt idx="291">
                  <c:v>-0.28225800000000001</c:v>
                </c:pt>
                <c:pt idx="292">
                  <c:v>-0.36296200000000001</c:v>
                </c:pt>
                <c:pt idx="293">
                  <c:v>-0.421875</c:v>
                </c:pt>
                <c:pt idx="294">
                  <c:v>-0.29411700000000002</c:v>
                </c:pt>
                <c:pt idx="295">
                  <c:v>-0.33636300000000002</c:v>
                </c:pt>
                <c:pt idx="296">
                  <c:v>-0.43298900000000001</c:v>
                </c:pt>
                <c:pt idx="297">
                  <c:v>-0.47422599999999998</c:v>
                </c:pt>
                <c:pt idx="298">
                  <c:v>-0.53846099999999997</c:v>
                </c:pt>
                <c:pt idx="299">
                  <c:v>-0.556701</c:v>
                </c:pt>
                <c:pt idx="300">
                  <c:v>-0.51807199999999998</c:v>
                </c:pt>
                <c:pt idx="301">
                  <c:v>-0.57499999999999996</c:v>
                </c:pt>
                <c:pt idx="302">
                  <c:v>-0.49367</c:v>
                </c:pt>
                <c:pt idx="303">
                  <c:v>-0.36666599999999999</c:v>
                </c:pt>
                <c:pt idx="304">
                  <c:v>-0.30769200000000002</c:v>
                </c:pt>
                <c:pt idx="305">
                  <c:v>-0.17777699999999999</c:v>
                </c:pt>
                <c:pt idx="306">
                  <c:v>-0.274509</c:v>
                </c:pt>
                <c:pt idx="307">
                  <c:v>-0.20930199999999999</c:v>
                </c:pt>
                <c:pt idx="308">
                  <c:v>-0.35416599999999998</c:v>
                </c:pt>
                <c:pt idx="309">
                  <c:v>-0.36363600000000001</c:v>
                </c:pt>
                <c:pt idx="310">
                  <c:v>-0.31707299999999999</c:v>
                </c:pt>
                <c:pt idx="311">
                  <c:v>-0.21052599999999999</c:v>
                </c:pt>
                <c:pt idx="312">
                  <c:v>-0.22500000000000001</c:v>
                </c:pt>
                <c:pt idx="313">
                  <c:v>-0.238095</c:v>
                </c:pt>
                <c:pt idx="314">
                  <c:v>5.8823E-2</c:v>
                </c:pt>
                <c:pt idx="315">
                  <c:v>-0.119047</c:v>
                </c:pt>
                <c:pt idx="316">
                  <c:v>0</c:v>
                </c:pt>
                <c:pt idx="317">
                  <c:v>6.0606E-2</c:v>
                </c:pt>
                <c:pt idx="318">
                  <c:v>0.15151500000000001</c:v>
                </c:pt>
                <c:pt idx="319">
                  <c:v>0.114285</c:v>
                </c:pt>
                <c:pt idx="320">
                  <c:v>-7.3169999999999999E-2</c:v>
                </c:pt>
                <c:pt idx="321">
                  <c:v>0.189189</c:v>
                </c:pt>
                <c:pt idx="322">
                  <c:v>0.11627899999999999</c:v>
                </c:pt>
                <c:pt idx="323">
                  <c:v>0.25641000000000003</c:v>
                </c:pt>
                <c:pt idx="324">
                  <c:v>0.11627899999999999</c:v>
                </c:pt>
                <c:pt idx="325">
                  <c:v>4.7619000000000002E-2</c:v>
                </c:pt>
                <c:pt idx="326">
                  <c:v>9.5238000000000003E-2</c:v>
                </c:pt>
                <c:pt idx="327">
                  <c:v>-3.7734999999999998E-2</c:v>
                </c:pt>
                <c:pt idx="328">
                  <c:v>4.0815999999999998E-2</c:v>
                </c:pt>
                <c:pt idx="329">
                  <c:v>-9.0909000000000004E-2</c:v>
                </c:pt>
                <c:pt idx="330">
                  <c:v>-7.2727E-2</c:v>
                </c:pt>
                <c:pt idx="331">
                  <c:v>7.6923000000000005E-2</c:v>
                </c:pt>
                <c:pt idx="332">
                  <c:v>0.13999900000000001</c:v>
                </c:pt>
                <c:pt idx="333">
                  <c:v>5.5555E-2</c:v>
                </c:pt>
                <c:pt idx="334">
                  <c:v>-0.19696900000000001</c:v>
                </c:pt>
                <c:pt idx="335">
                  <c:v>-0.10909000000000001</c:v>
                </c:pt>
                <c:pt idx="336">
                  <c:v>-0.137931</c:v>
                </c:pt>
                <c:pt idx="337">
                  <c:v>-0.12903200000000001</c:v>
                </c:pt>
                <c:pt idx="338">
                  <c:v>-0.213114</c:v>
                </c:pt>
                <c:pt idx="339">
                  <c:v>-0.15873000000000001</c:v>
                </c:pt>
                <c:pt idx="340">
                  <c:v>-0.13114700000000001</c:v>
                </c:pt>
                <c:pt idx="341">
                  <c:v>-0.203124</c:v>
                </c:pt>
                <c:pt idx="342">
                  <c:v>-5.5555E-2</c:v>
                </c:pt>
                <c:pt idx="343">
                  <c:v>-0.12903200000000001</c:v>
                </c:pt>
                <c:pt idx="344">
                  <c:v>-0.15254200000000001</c:v>
                </c:pt>
                <c:pt idx="345">
                  <c:v>-0.137931</c:v>
                </c:pt>
                <c:pt idx="346">
                  <c:v>-0.20338899999999999</c:v>
                </c:pt>
                <c:pt idx="347">
                  <c:v>-0.10909000000000001</c:v>
                </c:pt>
                <c:pt idx="348">
                  <c:v>-0.16128999999999999</c:v>
                </c:pt>
                <c:pt idx="349">
                  <c:v>-1.6948999999999999E-2</c:v>
                </c:pt>
                <c:pt idx="350">
                  <c:v>-6.4516000000000004E-2</c:v>
                </c:pt>
                <c:pt idx="351">
                  <c:v>9.0909000000000004E-2</c:v>
                </c:pt>
                <c:pt idx="352">
                  <c:v>0.14035</c:v>
                </c:pt>
                <c:pt idx="353">
                  <c:v>0.25454500000000002</c:v>
                </c:pt>
                <c:pt idx="354">
                  <c:v>0.24074000000000001</c:v>
                </c:pt>
                <c:pt idx="355">
                  <c:v>-1.4492E-2</c:v>
                </c:pt>
                <c:pt idx="356">
                  <c:v>-0.10606</c:v>
                </c:pt>
                <c:pt idx="357">
                  <c:v>-8.8234999999999994E-2</c:v>
                </c:pt>
                <c:pt idx="358">
                  <c:v>-1.4285000000000001E-2</c:v>
                </c:pt>
                <c:pt idx="359">
                  <c:v>-0.131578</c:v>
                </c:pt>
                <c:pt idx="360">
                  <c:v>-0.17333299999999999</c:v>
                </c:pt>
                <c:pt idx="361">
                  <c:v>-0.164383</c:v>
                </c:pt>
                <c:pt idx="362">
                  <c:v>-0.236842</c:v>
                </c:pt>
                <c:pt idx="363">
                  <c:v>-0.12857099999999999</c:v>
                </c:pt>
                <c:pt idx="364">
                  <c:v>-0.253164</c:v>
                </c:pt>
                <c:pt idx="365">
                  <c:v>-0.25</c:v>
                </c:pt>
                <c:pt idx="366">
                  <c:v>-0.164383</c:v>
                </c:pt>
                <c:pt idx="367">
                  <c:v>2.9850000000000002E-2</c:v>
                </c:pt>
                <c:pt idx="368">
                  <c:v>9.375E-2</c:v>
                </c:pt>
                <c:pt idx="369">
                  <c:v>0.115942</c:v>
                </c:pt>
                <c:pt idx="370">
                  <c:v>0.3</c:v>
                </c:pt>
                <c:pt idx="371">
                  <c:v>0.29729699999999998</c:v>
                </c:pt>
                <c:pt idx="372">
                  <c:v>0.44117600000000001</c:v>
                </c:pt>
                <c:pt idx="373">
                  <c:v>0.368421</c:v>
                </c:pt>
                <c:pt idx="374">
                  <c:v>0.36</c:v>
                </c:pt>
                <c:pt idx="375">
                  <c:v>0.349999</c:v>
                </c:pt>
                <c:pt idx="376">
                  <c:v>0.117647</c:v>
                </c:pt>
                <c:pt idx="377">
                  <c:v>0.14285700000000001</c:v>
                </c:pt>
                <c:pt idx="378">
                  <c:v>0.15929199999999999</c:v>
                </c:pt>
                <c:pt idx="379">
                  <c:v>0.14782600000000001</c:v>
                </c:pt>
                <c:pt idx="380">
                  <c:v>0.14529900000000001</c:v>
                </c:pt>
                <c:pt idx="381">
                  <c:v>0.33333299999999999</c:v>
                </c:pt>
                <c:pt idx="382">
                  <c:v>0.21774099999999999</c:v>
                </c:pt>
                <c:pt idx="383">
                  <c:v>2.0688999999999999E-2</c:v>
                </c:pt>
                <c:pt idx="384">
                  <c:v>0</c:v>
                </c:pt>
                <c:pt idx="385">
                  <c:v>-6.0401999999999997E-2</c:v>
                </c:pt>
                <c:pt idx="386">
                  <c:v>-6.6225000000000006E-2</c:v>
                </c:pt>
                <c:pt idx="387">
                  <c:v>-0.13939299999999999</c:v>
                </c:pt>
                <c:pt idx="388">
                  <c:v>-0.15950900000000001</c:v>
                </c:pt>
                <c:pt idx="389">
                  <c:v>-0.10975600000000001</c:v>
                </c:pt>
                <c:pt idx="390">
                  <c:v>-0.15340899999999999</c:v>
                </c:pt>
                <c:pt idx="391">
                  <c:v>-4.8483999999999999E-2</c:v>
                </c:pt>
                <c:pt idx="392">
                  <c:v>-3.1446000000000002E-2</c:v>
                </c:pt>
                <c:pt idx="393">
                  <c:v>6.2111E-2</c:v>
                </c:pt>
                <c:pt idx="394">
                  <c:v>8.3333000000000004E-2</c:v>
                </c:pt>
                <c:pt idx="395">
                  <c:v>0.191082</c:v>
                </c:pt>
                <c:pt idx="396">
                  <c:v>0.191358</c:v>
                </c:pt>
                <c:pt idx="397">
                  <c:v>9.7296999999999995E-2</c:v>
                </c:pt>
                <c:pt idx="398">
                  <c:v>0.33333299999999999</c:v>
                </c:pt>
                <c:pt idx="399">
                  <c:v>0.35789399999999999</c:v>
                </c:pt>
                <c:pt idx="400">
                  <c:v>0.36138599999999999</c:v>
                </c:pt>
                <c:pt idx="401">
                  <c:v>0.33333299999999999</c:v>
                </c:pt>
                <c:pt idx="402">
                  <c:v>0.42253499999999999</c:v>
                </c:pt>
                <c:pt idx="403">
                  <c:v>0.40182600000000002</c:v>
                </c:pt>
                <c:pt idx="404">
                  <c:v>0.182835</c:v>
                </c:pt>
                <c:pt idx="405">
                  <c:v>0.26545400000000002</c:v>
                </c:pt>
                <c:pt idx="406">
                  <c:v>0.183279</c:v>
                </c:pt>
                <c:pt idx="407">
                  <c:v>0.20952299999999999</c:v>
                </c:pt>
                <c:pt idx="408">
                  <c:v>0.197604</c:v>
                </c:pt>
                <c:pt idx="409">
                  <c:v>0.30030000000000001</c:v>
                </c:pt>
                <c:pt idx="410">
                  <c:v>0.37317699999999998</c:v>
                </c:pt>
                <c:pt idx="411">
                  <c:v>0.18401899999999999</c:v>
                </c:pt>
                <c:pt idx="412">
                  <c:v>0.29683599999999999</c:v>
                </c:pt>
                <c:pt idx="413">
                  <c:v>0.42626700000000001</c:v>
                </c:pt>
                <c:pt idx="414">
                  <c:v>0.56136299999999995</c:v>
                </c:pt>
                <c:pt idx="415">
                  <c:v>0.575569</c:v>
                </c:pt>
                <c:pt idx="416">
                  <c:v>0.67065799999999998</c:v>
                </c:pt>
                <c:pt idx="417">
                  <c:v>0.678095</c:v>
                </c:pt>
                <c:pt idx="418">
                  <c:v>0.48489599999999999</c:v>
                </c:pt>
                <c:pt idx="419">
                  <c:v>0.49266799999999999</c:v>
                </c:pt>
                <c:pt idx="420">
                  <c:v>0.50863199999999997</c:v>
                </c:pt>
                <c:pt idx="421">
                  <c:v>0.52073100000000005</c:v>
                </c:pt>
                <c:pt idx="422">
                  <c:v>0.394565</c:v>
                </c:pt>
                <c:pt idx="423">
                  <c:v>0.47312900000000002</c:v>
                </c:pt>
                <c:pt idx="424">
                  <c:v>0.49190200000000001</c:v>
                </c:pt>
                <c:pt idx="425">
                  <c:v>0.36355700000000002</c:v>
                </c:pt>
                <c:pt idx="426">
                  <c:v>0.404669</c:v>
                </c:pt>
                <c:pt idx="427">
                  <c:v>0.40984700000000002</c:v>
                </c:pt>
                <c:pt idx="428">
                  <c:v>0.47881299999999999</c:v>
                </c:pt>
                <c:pt idx="429">
                  <c:v>0.48619099999999998</c:v>
                </c:pt>
                <c:pt idx="430">
                  <c:v>0.51450099999999999</c:v>
                </c:pt>
                <c:pt idx="431">
                  <c:v>0.48102</c:v>
                </c:pt>
                <c:pt idx="432">
                  <c:v>0.26712599999999997</c:v>
                </c:pt>
                <c:pt idx="433">
                  <c:v>0.20460700000000001</c:v>
                </c:pt>
                <c:pt idx="434">
                  <c:v>0.20564299999999999</c:v>
                </c:pt>
                <c:pt idx="435">
                  <c:v>0.17358000000000001</c:v>
                </c:pt>
                <c:pt idx="436">
                  <c:v>0.127802</c:v>
                </c:pt>
                <c:pt idx="437">
                  <c:v>0.192551</c:v>
                </c:pt>
                <c:pt idx="438">
                  <c:v>0.18756700000000001</c:v>
                </c:pt>
                <c:pt idx="439">
                  <c:v>8.0526E-2</c:v>
                </c:pt>
                <c:pt idx="440">
                  <c:v>0.119851</c:v>
                </c:pt>
                <c:pt idx="441">
                  <c:v>0.12764600000000001</c:v>
                </c:pt>
                <c:pt idx="442">
                  <c:v>9.2749999999999999E-2</c:v>
                </c:pt>
                <c:pt idx="443">
                  <c:v>8.9224999999999999E-2</c:v>
                </c:pt>
                <c:pt idx="444">
                  <c:v>0.130713</c:v>
                </c:pt>
                <c:pt idx="445">
                  <c:v>0.14011999999999999</c:v>
                </c:pt>
                <c:pt idx="446">
                  <c:v>4.0124E-2</c:v>
                </c:pt>
                <c:pt idx="447">
                  <c:v>2.7972E-2</c:v>
                </c:pt>
                <c:pt idx="448">
                  <c:v>7.1512999999999993E-2</c:v>
                </c:pt>
                <c:pt idx="449">
                  <c:v>9.3257000000000007E-2</c:v>
                </c:pt>
                <c:pt idx="450">
                  <c:v>5.4311999999999999E-2</c:v>
                </c:pt>
                <c:pt idx="451">
                  <c:v>8.4358000000000002E-2</c:v>
                </c:pt>
                <c:pt idx="452">
                  <c:v>6.4129000000000005E-2</c:v>
                </c:pt>
                <c:pt idx="453">
                  <c:v>-4.4964999999999998E-2</c:v>
                </c:pt>
                <c:pt idx="454">
                  <c:v>-2.6813E-2</c:v>
                </c:pt>
                <c:pt idx="455">
                  <c:v>-4.7112000000000001E-2</c:v>
                </c:pt>
                <c:pt idx="456">
                  <c:v>-9.4459000000000001E-2</c:v>
                </c:pt>
                <c:pt idx="457">
                  <c:v>-0.10677</c:v>
                </c:pt>
                <c:pt idx="458">
                  <c:v>-0.100858</c:v>
                </c:pt>
                <c:pt idx="459">
                  <c:v>-0.116928</c:v>
                </c:pt>
                <c:pt idx="460">
                  <c:v>-0.18868199999999999</c:v>
                </c:pt>
                <c:pt idx="461">
                  <c:v>-0.1981</c:v>
                </c:pt>
                <c:pt idx="462">
                  <c:v>-0.20351900000000001</c:v>
                </c:pt>
                <c:pt idx="463">
                  <c:v>-0.21731600000000001</c:v>
                </c:pt>
                <c:pt idx="464">
                  <c:v>-0.241397</c:v>
                </c:pt>
                <c:pt idx="465">
                  <c:v>-0.19170599999999999</c:v>
                </c:pt>
                <c:pt idx="466">
                  <c:v>-0.19464799999999999</c:v>
                </c:pt>
                <c:pt idx="467">
                  <c:v>-0.25835799999999998</c:v>
                </c:pt>
                <c:pt idx="468">
                  <c:v>-0.230624</c:v>
                </c:pt>
                <c:pt idx="469">
                  <c:v>-0.23650499999999999</c:v>
                </c:pt>
                <c:pt idx="470">
                  <c:v>-0.25170399999999998</c:v>
                </c:pt>
                <c:pt idx="471">
                  <c:v>-0.25841799999999998</c:v>
                </c:pt>
                <c:pt idx="472">
                  <c:v>-0.25237700000000002</c:v>
                </c:pt>
                <c:pt idx="473">
                  <c:v>-0.26072800000000002</c:v>
                </c:pt>
                <c:pt idx="474">
                  <c:v>-0.313114</c:v>
                </c:pt>
                <c:pt idx="475">
                  <c:v>-0.32207000000000002</c:v>
                </c:pt>
                <c:pt idx="476">
                  <c:v>-0.32816299999999998</c:v>
                </c:pt>
                <c:pt idx="477">
                  <c:v>-0.32871899999999998</c:v>
                </c:pt>
                <c:pt idx="478">
                  <c:v>-0.35224299999999997</c:v>
                </c:pt>
                <c:pt idx="479">
                  <c:v>-0.35731200000000002</c:v>
                </c:pt>
                <c:pt idx="480">
                  <c:v>-0.353466</c:v>
                </c:pt>
                <c:pt idx="481">
                  <c:v>-0.39902599999999999</c:v>
                </c:pt>
                <c:pt idx="482">
                  <c:v>-0.35378599999999999</c:v>
                </c:pt>
                <c:pt idx="483">
                  <c:v>-0.33391799999999999</c:v>
                </c:pt>
                <c:pt idx="484">
                  <c:v>-0.30468499999999998</c:v>
                </c:pt>
                <c:pt idx="485">
                  <c:v>-0.24812200000000001</c:v>
                </c:pt>
                <c:pt idx="486">
                  <c:v>-0.15009400000000001</c:v>
                </c:pt>
                <c:pt idx="487">
                  <c:v>-0.15384600000000001</c:v>
                </c:pt>
                <c:pt idx="488">
                  <c:v>-0.25346200000000002</c:v>
                </c:pt>
                <c:pt idx="489">
                  <c:v>-0.29236899999999999</c:v>
                </c:pt>
                <c:pt idx="490">
                  <c:v>-0.30391699999999999</c:v>
                </c:pt>
                <c:pt idx="491">
                  <c:v>-0.30802800000000002</c:v>
                </c:pt>
                <c:pt idx="492">
                  <c:v>-0.317272</c:v>
                </c:pt>
                <c:pt idx="493">
                  <c:v>-0.33031300000000002</c:v>
                </c:pt>
                <c:pt idx="494">
                  <c:v>-0.32985300000000001</c:v>
                </c:pt>
                <c:pt idx="495">
                  <c:v>-0.37338100000000002</c:v>
                </c:pt>
                <c:pt idx="496">
                  <c:v>-0.35752899999999999</c:v>
                </c:pt>
                <c:pt idx="497">
                  <c:v>-0.354684</c:v>
                </c:pt>
                <c:pt idx="498">
                  <c:v>-0.36877199999999999</c:v>
                </c:pt>
                <c:pt idx="499">
                  <c:v>-0.37179400000000001</c:v>
                </c:pt>
                <c:pt idx="500">
                  <c:v>-0.38039200000000001</c:v>
                </c:pt>
                <c:pt idx="501">
                  <c:v>-0.39953499999999997</c:v>
                </c:pt>
                <c:pt idx="502">
                  <c:v>-0.42217100000000002</c:v>
                </c:pt>
                <c:pt idx="503">
                  <c:v>-0.37217800000000001</c:v>
                </c:pt>
                <c:pt idx="504">
                  <c:v>-0.31924799999999998</c:v>
                </c:pt>
                <c:pt idx="505">
                  <c:v>-0.21273500000000001</c:v>
                </c:pt>
                <c:pt idx="506">
                  <c:v>-0.11408799999999999</c:v>
                </c:pt>
                <c:pt idx="507">
                  <c:v>5.4483999999999998E-2</c:v>
                </c:pt>
                <c:pt idx="508">
                  <c:v>0.18432699999999999</c:v>
                </c:pt>
                <c:pt idx="509">
                  <c:v>0.173628</c:v>
                </c:pt>
                <c:pt idx="510">
                  <c:v>0.27827499999999999</c:v>
                </c:pt>
                <c:pt idx="511">
                  <c:v>0.384052</c:v>
                </c:pt>
                <c:pt idx="512">
                  <c:v>0.40458</c:v>
                </c:pt>
                <c:pt idx="513">
                  <c:v>0.46037400000000001</c:v>
                </c:pt>
                <c:pt idx="514">
                  <c:v>0.56669000000000003</c:v>
                </c:pt>
                <c:pt idx="515">
                  <c:v>0.52693800000000002</c:v>
                </c:pt>
                <c:pt idx="516">
                  <c:v>0.35834199999999999</c:v>
                </c:pt>
                <c:pt idx="517">
                  <c:v>0.391372</c:v>
                </c:pt>
                <c:pt idx="518">
                  <c:v>0.427458</c:v>
                </c:pt>
                <c:pt idx="519">
                  <c:v>0.399733</c:v>
                </c:pt>
                <c:pt idx="520">
                  <c:v>0.32721299999999998</c:v>
                </c:pt>
                <c:pt idx="521">
                  <c:v>0.35642299999999999</c:v>
                </c:pt>
                <c:pt idx="522">
                  <c:v>0.31627100000000002</c:v>
                </c:pt>
                <c:pt idx="523">
                  <c:v>0.158438</c:v>
                </c:pt>
                <c:pt idx="524">
                  <c:v>0.122624</c:v>
                </c:pt>
                <c:pt idx="525">
                  <c:v>5.6555000000000001E-2</c:v>
                </c:pt>
                <c:pt idx="526">
                  <c:v>3.8775999999999998E-2</c:v>
                </c:pt>
                <c:pt idx="527">
                  <c:v>2.1097000000000001E-2</c:v>
                </c:pt>
                <c:pt idx="528">
                  <c:v>4.7721E-2</c:v>
                </c:pt>
                <c:pt idx="529">
                  <c:v>2.4157000000000001E-2</c:v>
                </c:pt>
                <c:pt idx="530">
                  <c:v>-9.0221999999999997E-2</c:v>
                </c:pt>
                <c:pt idx="531">
                  <c:v>-0.117701</c:v>
                </c:pt>
                <c:pt idx="532">
                  <c:v>-0.15687100000000001</c:v>
                </c:pt>
                <c:pt idx="533">
                  <c:v>-0.19653399999999999</c:v>
                </c:pt>
                <c:pt idx="534">
                  <c:v>-0.23028199999999999</c:v>
                </c:pt>
                <c:pt idx="535">
                  <c:v>-0.23457900000000001</c:v>
                </c:pt>
                <c:pt idx="536">
                  <c:v>-0.25197399999999998</c:v>
                </c:pt>
                <c:pt idx="537">
                  <c:v>-0.29308000000000001</c:v>
                </c:pt>
                <c:pt idx="538">
                  <c:v>-0.29466700000000001</c:v>
                </c:pt>
                <c:pt idx="539">
                  <c:v>-0.29565000000000002</c:v>
                </c:pt>
                <c:pt idx="540">
                  <c:v>-0.259633</c:v>
                </c:pt>
                <c:pt idx="541">
                  <c:v>-0.25204799999999999</c:v>
                </c:pt>
                <c:pt idx="542">
                  <c:v>-0.22329299999999999</c:v>
                </c:pt>
                <c:pt idx="543">
                  <c:v>-0.23410500000000001</c:v>
                </c:pt>
                <c:pt idx="544">
                  <c:v>-0.304064</c:v>
                </c:pt>
                <c:pt idx="545">
                  <c:v>-0.29343999999999998</c:v>
                </c:pt>
                <c:pt idx="546">
                  <c:v>-0.30459999999999998</c:v>
                </c:pt>
                <c:pt idx="547">
                  <c:v>-0.336565</c:v>
                </c:pt>
                <c:pt idx="548">
                  <c:v>-0.35587099999999999</c:v>
                </c:pt>
                <c:pt idx="549">
                  <c:v>-0.32394299999999998</c:v>
                </c:pt>
                <c:pt idx="550">
                  <c:v>-0.351659</c:v>
                </c:pt>
                <c:pt idx="551">
                  <c:v>-0.45420899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C8-4E7B-83D3-5242563E84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Novych_JIP_7dni_100_000_nyni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53</c:f>
              <c:numCache>
                <c:formatCode>m/d/yyyy</c:formatCode>
                <c:ptCount val="55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</c:numCache>
            </c:numRef>
          </c:cat>
          <c:val>
            <c:numRef>
              <c:f>Sheet1!$B$2:$B$553</c:f>
              <c:numCache>
                <c:formatCode>#\ ##0.0</c:formatCode>
                <c:ptCount val="552"/>
                <c:pt idx="0">
                  <c:v>0.41675189430600001</c:v>
                </c:pt>
                <c:pt idx="1">
                  <c:v>0.46180615315000001</c:v>
                </c:pt>
                <c:pt idx="2">
                  <c:v>0.48433328257199998</c:v>
                </c:pt>
                <c:pt idx="3">
                  <c:v>0.52938754141599997</c:v>
                </c:pt>
                <c:pt idx="4">
                  <c:v>0.51812397670499999</c:v>
                </c:pt>
                <c:pt idx="5">
                  <c:v>0.49559684728300002</c:v>
                </c:pt>
                <c:pt idx="6">
                  <c:v>0.54065110612699996</c:v>
                </c:pt>
                <c:pt idx="7">
                  <c:v>0.55191467083800005</c:v>
                </c:pt>
                <c:pt idx="8">
                  <c:v>0.57444180026000002</c:v>
                </c:pt>
                <c:pt idx="9">
                  <c:v>0.54065110612699996</c:v>
                </c:pt>
                <c:pt idx="10">
                  <c:v>0.55191467083800005</c:v>
                </c:pt>
                <c:pt idx="11">
                  <c:v>0.57444180026000002</c:v>
                </c:pt>
                <c:pt idx="12">
                  <c:v>0.61949605910299999</c:v>
                </c:pt>
                <c:pt idx="13">
                  <c:v>0.64202318852499995</c:v>
                </c:pt>
                <c:pt idx="14">
                  <c:v>0.73213170621300006</c:v>
                </c:pt>
                <c:pt idx="15">
                  <c:v>0.72086814150199996</c:v>
                </c:pt>
                <c:pt idx="16">
                  <c:v>0.84476735332300001</c:v>
                </c:pt>
                <c:pt idx="17">
                  <c:v>1.013720823988</c:v>
                </c:pt>
                <c:pt idx="18">
                  <c:v>1.2277285534960001</c:v>
                </c:pt>
                <c:pt idx="19">
                  <c:v>1.317837071184</c:v>
                </c:pt>
                <c:pt idx="20">
                  <c:v>1.599426188959</c:v>
                </c:pt>
                <c:pt idx="21">
                  <c:v>1.6782711419359999</c:v>
                </c:pt>
                <c:pt idx="22">
                  <c:v>1.8359610478890001</c:v>
                </c:pt>
                <c:pt idx="23">
                  <c:v>2.004914518554</c:v>
                </c:pt>
                <c:pt idx="24">
                  <c:v>1.9823873891320001</c:v>
                </c:pt>
                <c:pt idx="25">
                  <c:v>1.9936509538430001</c:v>
                </c:pt>
                <c:pt idx="26">
                  <c:v>2.1062866009530001</c:v>
                </c:pt>
                <c:pt idx="27">
                  <c:v>2.2076586833520002</c:v>
                </c:pt>
                <c:pt idx="28">
                  <c:v>2.2639765069069999</c:v>
                </c:pt>
                <c:pt idx="29">
                  <c:v>2.387875718728</c:v>
                </c:pt>
                <c:pt idx="30">
                  <c:v>2.5680927541030001</c:v>
                </c:pt>
                <c:pt idx="31">
                  <c:v>2.7370462247680001</c:v>
                </c:pt>
                <c:pt idx="32">
                  <c:v>3.052426036675</c:v>
                </c:pt>
                <c:pt idx="33">
                  <c:v>3.2326430720510002</c:v>
                </c:pt>
                <c:pt idx="34">
                  <c:v>3.3452787191610001</c:v>
                </c:pt>
                <c:pt idx="35">
                  <c:v>3.829612001733</c:v>
                </c:pt>
                <c:pt idx="36">
                  <c:v>4.2463638960400001</c:v>
                </c:pt>
                <c:pt idx="37">
                  <c:v>4.4491080608370002</c:v>
                </c:pt>
                <c:pt idx="38">
                  <c:v>4.9334413434090001</c:v>
                </c:pt>
                <c:pt idx="39">
                  <c:v>5.2938754141609996</c:v>
                </c:pt>
                <c:pt idx="40">
                  <c:v>5.4065110612709999</c:v>
                </c:pt>
                <c:pt idx="41">
                  <c:v>5.7894722614439997</c:v>
                </c:pt>
                <c:pt idx="42">
                  <c:v>5.9358986026869998</c:v>
                </c:pt>
                <c:pt idx="43">
                  <c:v>6.2174877204610004</c:v>
                </c:pt>
                <c:pt idx="44">
                  <c:v>6.5553946617910004</c:v>
                </c:pt>
                <c:pt idx="45">
                  <c:v>6.8595109089869997</c:v>
                </c:pt>
                <c:pt idx="46">
                  <c:v>6.7243481324549998</c:v>
                </c:pt>
                <c:pt idx="47">
                  <c:v>7.1974178503169997</c:v>
                </c:pt>
                <c:pt idx="48">
                  <c:v>7.4226891445360001</c:v>
                </c:pt>
                <c:pt idx="49">
                  <c:v>7.9746038153740004</c:v>
                </c:pt>
                <c:pt idx="50">
                  <c:v>8.6504176980329994</c:v>
                </c:pt>
                <c:pt idx="51">
                  <c:v>9.2586501924259998</c:v>
                </c:pt>
                <c:pt idx="52">
                  <c:v>9.5627664396229992</c:v>
                </c:pt>
                <c:pt idx="53">
                  <c:v>10.204789628148999</c:v>
                </c:pt>
                <c:pt idx="54">
                  <c:v>10.689122910721</c:v>
                </c:pt>
                <c:pt idx="55">
                  <c:v>11.691580169998</c:v>
                </c:pt>
                <c:pt idx="56">
                  <c:v>11.984432852484</c:v>
                </c:pt>
                <c:pt idx="57">
                  <c:v>11.804215817108</c:v>
                </c:pt>
                <c:pt idx="58">
                  <c:v>12.412448311501</c:v>
                </c:pt>
                <c:pt idx="59">
                  <c:v>12.637719605720999</c:v>
                </c:pt>
                <c:pt idx="60">
                  <c:v>13.08826219416</c:v>
                </c:pt>
                <c:pt idx="61">
                  <c:v>13.08826219416</c:v>
                </c:pt>
                <c:pt idx="62">
                  <c:v>12.941835852917</c:v>
                </c:pt>
                <c:pt idx="63">
                  <c:v>13.110789323582001</c:v>
                </c:pt>
                <c:pt idx="64">
                  <c:v>13.302269923669</c:v>
                </c:pt>
                <c:pt idx="65">
                  <c:v>12.86299089994</c:v>
                </c:pt>
                <c:pt idx="66">
                  <c:v>13.167107147136999</c:v>
                </c:pt>
                <c:pt idx="67">
                  <c:v>12.525083958611001</c:v>
                </c:pt>
                <c:pt idx="68">
                  <c:v>12.311076229102</c:v>
                </c:pt>
                <c:pt idx="69">
                  <c:v>11.781688687686</c:v>
                </c:pt>
                <c:pt idx="70">
                  <c:v>11.47757244049</c:v>
                </c:pt>
                <c:pt idx="71">
                  <c:v>11.038293416761</c:v>
                </c:pt>
                <c:pt idx="72">
                  <c:v>10.745440734276</c:v>
                </c:pt>
                <c:pt idx="73">
                  <c:v>10.125944675172001</c:v>
                </c:pt>
                <c:pt idx="74">
                  <c:v>9.9232005103740004</c:v>
                </c:pt>
                <c:pt idx="75">
                  <c:v>9.4050765336689999</c:v>
                </c:pt>
                <c:pt idx="76">
                  <c:v>9.2023323688709997</c:v>
                </c:pt>
                <c:pt idx="77">
                  <c:v>8.6053634391890004</c:v>
                </c:pt>
                <c:pt idx="78">
                  <c:v>8.5265184862119998</c:v>
                </c:pt>
                <c:pt idx="79">
                  <c:v>8.2336658037269999</c:v>
                </c:pt>
                <c:pt idx="80">
                  <c:v>8.0534487683510001</c:v>
                </c:pt>
                <c:pt idx="81">
                  <c:v>8.0872394624839998</c:v>
                </c:pt>
                <c:pt idx="82">
                  <c:v>8.2561929331490003</c:v>
                </c:pt>
                <c:pt idx="83">
                  <c:v>8.0309216389289997</c:v>
                </c:pt>
                <c:pt idx="84">
                  <c:v>7.8957588623969999</c:v>
                </c:pt>
                <c:pt idx="85">
                  <c:v>7.6479604387559998</c:v>
                </c:pt>
                <c:pt idx="86">
                  <c:v>7.3213170621370001</c:v>
                </c:pt>
                <c:pt idx="87">
                  <c:v>6.9608829913859998</c:v>
                </c:pt>
                <c:pt idx="88">
                  <c:v>6.8144566501429997</c:v>
                </c:pt>
                <c:pt idx="89">
                  <c:v>6.4652861441029996</c:v>
                </c:pt>
                <c:pt idx="90">
                  <c:v>6.3075962381490003</c:v>
                </c:pt>
                <c:pt idx="91">
                  <c:v>6.0485342497970001</c:v>
                </c:pt>
                <c:pt idx="92">
                  <c:v>6.0935885086399999</c:v>
                </c:pt>
                <c:pt idx="93">
                  <c:v>6.2174877204610004</c:v>
                </c:pt>
                <c:pt idx="94">
                  <c:v>6.2174877204610004</c:v>
                </c:pt>
                <c:pt idx="95">
                  <c:v>5.902107908554</c:v>
                </c:pt>
                <c:pt idx="96">
                  <c:v>6.0372706850859998</c:v>
                </c:pt>
                <c:pt idx="97">
                  <c:v>6.3301233675709998</c:v>
                </c:pt>
                <c:pt idx="98">
                  <c:v>6.5216039676579998</c:v>
                </c:pt>
                <c:pt idx="99">
                  <c:v>6.4089683205480004</c:v>
                </c:pt>
                <c:pt idx="100">
                  <c:v>6.5553946617910004</c:v>
                </c:pt>
                <c:pt idx="101">
                  <c:v>6.6229760500569999</c:v>
                </c:pt>
                <c:pt idx="102">
                  <c:v>6.972146556097</c:v>
                </c:pt>
                <c:pt idx="103">
                  <c:v>7.0397279443630003</c:v>
                </c:pt>
                <c:pt idx="104">
                  <c:v>6.7919295207210002</c:v>
                </c:pt>
                <c:pt idx="105">
                  <c:v>6.927092297253</c:v>
                </c:pt>
                <c:pt idx="106">
                  <c:v>7.2086814150279999</c:v>
                </c:pt>
                <c:pt idx="107">
                  <c:v>7.073518638496</c:v>
                </c:pt>
                <c:pt idx="108">
                  <c:v>7.1974178503169997</c:v>
                </c:pt>
                <c:pt idx="109">
                  <c:v>7.1523635914729997</c:v>
                </c:pt>
                <c:pt idx="110">
                  <c:v>7.2312085444500003</c:v>
                </c:pt>
                <c:pt idx="111">
                  <c:v>7.2762628032940002</c:v>
                </c:pt>
                <c:pt idx="112">
                  <c:v>7.5803790504900004</c:v>
                </c:pt>
                <c:pt idx="113">
                  <c:v>7.5240612269350002</c:v>
                </c:pt>
                <c:pt idx="114">
                  <c:v>7.5353247916460004</c:v>
                </c:pt>
                <c:pt idx="115">
                  <c:v>7.6141697446230001</c:v>
                </c:pt>
                <c:pt idx="116">
                  <c:v>7.8957588623969999</c:v>
                </c:pt>
                <c:pt idx="117">
                  <c:v>8.1998751095940001</c:v>
                </c:pt>
                <c:pt idx="118">
                  <c:v>8.7067355215879996</c:v>
                </c:pt>
                <c:pt idx="119">
                  <c:v>9.2248594982930001</c:v>
                </c:pt>
                <c:pt idx="120">
                  <c:v>9.5965571337560007</c:v>
                </c:pt>
                <c:pt idx="121">
                  <c:v>10.373743098813</c:v>
                </c:pt>
                <c:pt idx="122">
                  <c:v>10.531433004767001</c:v>
                </c:pt>
                <c:pt idx="123">
                  <c:v>10.418797357657001</c:v>
                </c:pt>
                <c:pt idx="124">
                  <c:v>10.790494993119999</c:v>
                </c:pt>
                <c:pt idx="125">
                  <c:v>11.117138369738001</c:v>
                </c:pt>
                <c:pt idx="126">
                  <c:v>11.094611240316</c:v>
                </c:pt>
                <c:pt idx="127">
                  <c:v>11.387463922802</c:v>
                </c:pt>
                <c:pt idx="128">
                  <c:v>11.105874805027</c:v>
                </c:pt>
                <c:pt idx="129">
                  <c:v>11.488836005201</c:v>
                </c:pt>
                <c:pt idx="130">
                  <c:v>11.916851464218</c:v>
                </c:pt>
                <c:pt idx="131">
                  <c:v>11.871797205374</c:v>
                </c:pt>
                <c:pt idx="132">
                  <c:v>11.691580169998</c:v>
                </c:pt>
                <c:pt idx="133">
                  <c:v>11.725370864130999</c:v>
                </c:pt>
                <c:pt idx="134">
                  <c:v>11.443781746357001</c:v>
                </c:pt>
                <c:pt idx="135">
                  <c:v>11.635262346443</c:v>
                </c:pt>
                <c:pt idx="136">
                  <c:v>11.578944522887999</c:v>
                </c:pt>
                <c:pt idx="137">
                  <c:v>11.432518181646</c:v>
                </c:pt>
                <c:pt idx="138">
                  <c:v>10.970712028495001</c:v>
                </c:pt>
                <c:pt idx="139">
                  <c:v>10.925657769651</c:v>
                </c:pt>
                <c:pt idx="140">
                  <c:v>10.666595781299</c:v>
                </c:pt>
                <c:pt idx="141">
                  <c:v>10.508905875345</c:v>
                </c:pt>
                <c:pt idx="142">
                  <c:v>10.182262498727001</c:v>
                </c:pt>
                <c:pt idx="143">
                  <c:v>10.148471804593999</c:v>
                </c:pt>
                <c:pt idx="144">
                  <c:v>9.900673380952</c:v>
                </c:pt>
                <c:pt idx="145">
                  <c:v>9.7880377338419997</c:v>
                </c:pt>
                <c:pt idx="146">
                  <c:v>9.6303478278890005</c:v>
                </c:pt>
                <c:pt idx="147">
                  <c:v>9.4163400983799992</c:v>
                </c:pt>
                <c:pt idx="148">
                  <c:v>9.2699137571369992</c:v>
                </c:pt>
                <c:pt idx="149">
                  <c:v>9.2586501924259998</c:v>
                </c:pt>
                <c:pt idx="150">
                  <c:v>9.2023323688709997</c:v>
                </c:pt>
                <c:pt idx="151">
                  <c:v>9.3938129689580006</c:v>
                </c:pt>
                <c:pt idx="152">
                  <c:v>9.5289757454899995</c:v>
                </c:pt>
                <c:pt idx="153">
                  <c:v>9.4726579219349993</c:v>
                </c:pt>
                <c:pt idx="154">
                  <c:v>9.7655106044199993</c:v>
                </c:pt>
                <c:pt idx="155">
                  <c:v>9.900673380952</c:v>
                </c:pt>
                <c:pt idx="156">
                  <c:v>10.092153981039001</c:v>
                </c:pt>
                <c:pt idx="157">
                  <c:v>9.9119369456629993</c:v>
                </c:pt>
                <c:pt idx="158">
                  <c:v>10.069626851617</c:v>
                </c:pt>
                <c:pt idx="159">
                  <c:v>10.45258805179</c:v>
                </c:pt>
                <c:pt idx="160">
                  <c:v>10.610277957744</c:v>
                </c:pt>
                <c:pt idx="161">
                  <c:v>10.565223698900001</c:v>
                </c:pt>
                <c:pt idx="162">
                  <c:v>10.925657769651</c:v>
                </c:pt>
                <c:pt idx="163">
                  <c:v>11.105874805027</c:v>
                </c:pt>
                <c:pt idx="164">
                  <c:v>11.195983322715</c:v>
                </c:pt>
                <c:pt idx="165">
                  <c:v>11.049556981472</c:v>
                </c:pt>
                <c:pt idx="166">
                  <c:v>10.993239157916999</c:v>
                </c:pt>
                <c:pt idx="167">
                  <c:v>11.162192628582</c:v>
                </c:pt>
                <c:pt idx="168">
                  <c:v>11.567680958177</c:v>
                </c:pt>
                <c:pt idx="169">
                  <c:v>11.792952252397001</c:v>
                </c:pt>
                <c:pt idx="170">
                  <c:v>11.781688687686</c:v>
                </c:pt>
                <c:pt idx="171">
                  <c:v>12.311076229102</c:v>
                </c:pt>
                <c:pt idx="172">
                  <c:v>12.502556829189</c:v>
                </c:pt>
                <c:pt idx="173">
                  <c:v>12.62645604101</c:v>
                </c:pt>
                <c:pt idx="174">
                  <c:v>13.076998629448999</c:v>
                </c:pt>
                <c:pt idx="175">
                  <c:v>13.076998629448999</c:v>
                </c:pt>
                <c:pt idx="176">
                  <c:v>13.065735064738</c:v>
                </c:pt>
                <c:pt idx="177">
                  <c:v>13.583859041443</c:v>
                </c:pt>
                <c:pt idx="178">
                  <c:v>13.369851311933999</c:v>
                </c:pt>
                <c:pt idx="179">
                  <c:v>13.966820241616</c:v>
                </c:pt>
                <c:pt idx="180">
                  <c:v>14.282200053524001</c:v>
                </c:pt>
                <c:pt idx="181">
                  <c:v>14.969277500894</c:v>
                </c:pt>
                <c:pt idx="182">
                  <c:v>15.408556524622</c:v>
                </c:pt>
                <c:pt idx="183">
                  <c:v>16.028052583726002</c:v>
                </c:pt>
                <c:pt idx="184">
                  <c:v>16.129424666125001</c:v>
                </c:pt>
                <c:pt idx="185">
                  <c:v>16.782711419361998</c:v>
                </c:pt>
                <c:pt idx="186">
                  <c:v>16.557440125142001</c:v>
                </c:pt>
                <c:pt idx="187">
                  <c:v>16.670075772252002</c:v>
                </c:pt>
                <c:pt idx="188">
                  <c:v>16.444804478032001</c:v>
                </c:pt>
                <c:pt idx="189">
                  <c:v>16.478595172165001</c:v>
                </c:pt>
                <c:pt idx="190">
                  <c:v>16.568703689852999</c:v>
                </c:pt>
                <c:pt idx="191">
                  <c:v>16.512385866298001</c:v>
                </c:pt>
                <c:pt idx="192">
                  <c:v>16.523649431009002</c:v>
                </c:pt>
                <c:pt idx="193">
                  <c:v>16.579967254564</c:v>
                </c:pt>
                <c:pt idx="194">
                  <c:v>16.636285078118998</c:v>
                </c:pt>
                <c:pt idx="195">
                  <c:v>16.647548642829999</c:v>
                </c:pt>
                <c:pt idx="196">
                  <c:v>16.681339336962999</c:v>
                </c:pt>
                <c:pt idx="197">
                  <c:v>16.275851007368001</c:v>
                </c:pt>
                <c:pt idx="198">
                  <c:v>16.050579713148</c:v>
                </c:pt>
                <c:pt idx="199">
                  <c:v>15.397292959911001</c:v>
                </c:pt>
                <c:pt idx="200">
                  <c:v>15.295920877512</c:v>
                </c:pt>
                <c:pt idx="201">
                  <c:v>14.946750371472</c:v>
                </c:pt>
                <c:pt idx="202">
                  <c:v>14.496207783033</c:v>
                </c:pt>
                <c:pt idx="203">
                  <c:v>14.158300841702999</c:v>
                </c:pt>
                <c:pt idx="204">
                  <c:v>13.933029547484001</c:v>
                </c:pt>
                <c:pt idx="205">
                  <c:v>14.056928759304</c:v>
                </c:pt>
                <c:pt idx="206">
                  <c:v>13.933029547484001</c:v>
                </c:pt>
                <c:pt idx="207">
                  <c:v>13.583859041443</c:v>
                </c:pt>
                <c:pt idx="208">
                  <c:v>13.358587747223</c:v>
                </c:pt>
                <c:pt idx="209">
                  <c:v>12.986890111760999</c:v>
                </c:pt>
                <c:pt idx="210">
                  <c:v>12.502556829189</c:v>
                </c:pt>
                <c:pt idx="211">
                  <c:v>12.153386323148</c:v>
                </c:pt>
                <c:pt idx="212">
                  <c:v>11.533890264044</c:v>
                </c:pt>
                <c:pt idx="213">
                  <c:v>11.173456193292999</c:v>
                </c:pt>
                <c:pt idx="214">
                  <c:v>11.004502722628001</c:v>
                </c:pt>
                <c:pt idx="215">
                  <c:v>10.722913604854</c:v>
                </c:pt>
                <c:pt idx="216">
                  <c:v>9.9907818986399999</c:v>
                </c:pt>
                <c:pt idx="217">
                  <c:v>9.8443555573969999</c:v>
                </c:pt>
                <c:pt idx="218">
                  <c:v>9.6641385220220002</c:v>
                </c:pt>
                <c:pt idx="219">
                  <c:v>9.4388672278019996</c:v>
                </c:pt>
                <c:pt idx="220">
                  <c:v>9.3262315806919993</c:v>
                </c:pt>
                <c:pt idx="221">
                  <c:v>9.1910688041600004</c:v>
                </c:pt>
                <c:pt idx="222">
                  <c:v>8.9545339452300006</c:v>
                </c:pt>
                <c:pt idx="223">
                  <c:v>8.9320068158080002</c:v>
                </c:pt>
                <c:pt idx="224">
                  <c:v>8.5940998744779993</c:v>
                </c:pt>
                <c:pt idx="225">
                  <c:v>8.2449293684379992</c:v>
                </c:pt>
                <c:pt idx="226">
                  <c:v>7.8169139094210003</c:v>
                </c:pt>
                <c:pt idx="227">
                  <c:v>7.7831232152879997</c:v>
                </c:pt>
                <c:pt idx="228">
                  <c:v>7.264999238583</c:v>
                </c:pt>
                <c:pt idx="229">
                  <c:v>7.0397279443630003</c:v>
                </c:pt>
                <c:pt idx="230">
                  <c:v>7.0284643796520001</c:v>
                </c:pt>
                <c:pt idx="231">
                  <c:v>6.6792938736109999</c:v>
                </c:pt>
                <c:pt idx="232">
                  <c:v>6.3188598028599996</c:v>
                </c:pt>
                <c:pt idx="233">
                  <c:v>6.1724334616169996</c:v>
                </c:pt>
                <c:pt idx="234">
                  <c:v>5.8007358261549999</c:v>
                </c:pt>
                <c:pt idx="235">
                  <c:v>5.5867280966459996</c:v>
                </c:pt>
                <c:pt idx="236">
                  <c:v>5.5078831436689999</c:v>
                </c:pt>
                <c:pt idx="237">
                  <c:v>5.0460769905190004</c:v>
                </c:pt>
                <c:pt idx="238">
                  <c:v>4.8095421315889997</c:v>
                </c:pt>
                <c:pt idx="239">
                  <c:v>4.8433328257220003</c:v>
                </c:pt>
                <c:pt idx="240">
                  <c:v>4.5730072726579998</c:v>
                </c:pt>
                <c:pt idx="241">
                  <c:v>4.3589995431490003</c:v>
                </c:pt>
                <c:pt idx="242">
                  <c:v>4.2351003313289999</c:v>
                </c:pt>
                <c:pt idx="243">
                  <c:v>4.1112011195080003</c:v>
                </c:pt>
                <c:pt idx="244">
                  <c:v>3.9873019076870002</c:v>
                </c:pt>
                <c:pt idx="245">
                  <c:v>3.953511213554</c:v>
                </c:pt>
                <c:pt idx="246">
                  <c:v>3.6381314016470001</c:v>
                </c:pt>
                <c:pt idx="247">
                  <c:v>3.4691779309820001</c:v>
                </c:pt>
                <c:pt idx="248">
                  <c:v>3.3002244603170001</c:v>
                </c:pt>
                <c:pt idx="249">
                  <c:v>3.2551702014730002</c:v>
                </c:pt>
                <c:pt idx="250">
                  <c:v>3.1312709896520001</c:v>
                </c:pt>
                <c:pt idx="251">
                  <c:v>3.052426036675</c:v>
                </c:pt>
                <c:pt idx="252">
                  <c:v>2.973581083699</c:v>
                </c:pt>
                <c:pt idx="253">
                  <c:v>2.804627613034</c:v>
                </c:pt>
                <c:pt idx="254">
                  <c:v>2.7145190953460001</c:v>
                </c:pt>
                <c:pt idx="255">
                  <c:v>2.658201271791</c:v>
                </c:pt>
                <c:pt idx="256">
                  <c:v>2.5230384952590001</c:v>
                </c:pt>
                <c:pt idx="257">
                  <c:v>2.3090307657509999</c:v>
                </c:pt>
                <c:pt idx="258">
                  <c:v>2.1175501656639999</c:v>
                </c:pt>
                <c:pt idx="259">
                  <c:v>1.869751742022</c:v>
                </c:pt>
                <c:pt idx="260">
                  <c:v>1.790906789046</c:v>
                </c:pt>
                <c:pt idx="261">
                  <c:v>1.633216883092</c:v>
                </c:pt>
                <c:pt idx="262">
                  <c:v>1.4980541065599999</c:v>
                </c:pt>
                <c:pt idx="263">
                  <c:v>1.5205812359819999</c:v>
                </c:pt>
                <c:pt idx="264">
                  <c:v>1.430472718294</c:v>
                </c:pt>
                <c:pt idx="265">
                  <c:v>1.3516277653169999</c:v>
                </c:pt>
                <c:pt idx="266">
                  <c:v>1.182674294653</c:v>
                </c:pt>
                <c:pt idx="267">
                  <c:v>1.1038293416760001</c:v>
                </c:pt>
                <c:pt idx="268">
                  <c:v>1.0700386475429999</c:v>
                </c:pt>
                <c:pt idx="269">
                  <c:v>0.90108517687800005</c:v>
                </c:pt>
                <c:pt idx="270">
                  <c:v>0.75465883563500002</c:v>
                </c:pt>
                <c:pt idx="271">
                  <c:v>0.75465883563500002</c:v>
                </c:pt>
                <c:pt idx="272">
                  <c:v>0.72086814150199996</c:v>
                </c:pt>
                <c:pt idx="273">
                  <c:v>0.67581388265800002</c:v>
                </c:pt>
                <c:pt idx="274">
                  <c:v>0.58570536497100001</c:v>
                </c:pt>
                <c:pt idx="275">
                  <c:v>0.59696892968199999</c:v>
                </c:pt>
                <c:pt idx="276">
                  <c:v>0.63075962381399997</c:v>
                </c:pt>
                <c:pt idx="277">
                  <c:v>0.58570536497100001</c:v>
                </c:pt>
                <c:pt idx="278">
                  <c:v>0.51812397670499999</c:v>
                </c:pt>
                <c:pt idx="279">
                  <c:v>0.45054258843900002</c:v>
                </c:pt>
                <c:pt idx="280">
                  <c:v>0.47306971786099999</c:v>
                </c:pt>
                <c:pt idx="281">
                  <c:v>0.428015459017</c:v>
                </c:pt>
                <c:pt idx="282">
                  <c:v>0.36043407075099998</c:v>
                </c:pt>
                <c:pt idx="283">
                  <c:v>0.27032555306299999</c:v>
                </c:pt>
                <c:pt idx="284">
                  <c:v>0.304116247196</c:v>
                </c:pt>
                <c:pt idx="285">
                  <c:v>0.27032555306299999</c:v>
                </c:pt>
                <c:pt idx="286">
                  <c:v>0.23653485893000001</c:v>
                </c:pt>
                <c:pt idx="287">
                  <c:v>0.180217035375</c:v>
                </c:pt>
                <c:pt idx="288">
                  <c:v>0.16895347066399999</c:v>
                </c:pt>
                <c:pt idx="289">
                  <c:v>0.157689905953</c:v>
                </c:pt>
                <c:pt idx="290">
                  <c:v>0.202744164797</c:v>
                </c:pt>
                <c:pt idx="291">
                  <c:v>0.157689905953</c:v>
                </c:pt>
                <c:pt idx="292">
                  <c:v>0.180217035375</c:v>
                </c:pt>
                <c:pt idx="293">
                  <c:v>0.157689905953</c:v>
                </c:pt>
                <c:pt idx="294">
                  <c:v>0.14642634124199999</c:v>
                </c:pt>
                <c:pt idx="295">
                  <c:v>0.11263564710899999</c:v>
                </c:pt>
                <c:pt idx="296">
                  <c:v>0.101372082398</c:v>
                </c:pt>
                <c:pt idx="297">
                  <c:v>0.11263564710899999</c:v>
                </c:pt>
                <c:pt idx="298">
                  <c:v>0.101372082398</c:v>
                </c:pt>
                <c:pt idx="299">
                  <c:v>7.8844952975999999E-2</c:v>
                </c:pt>
                <c:pt idx="300">
                  <c:v>0.11263564710899999</c:v>
                </c:pt>
                <c:pt idx="301">
                  <c:v>0.14642634124199999</c:v>
                </c:pt>
                <c:pt idx="302">
                  <c:v>0.16895347066399999</c:v>
                </c:pt>
                <c:pt idx="303">
                  <c:v>0.180217035375</c:v>
                </c:pt>
                <c:pt idx="304">
                  <c:v>0.12389921181999999</c:v>
                </c:pt>
                <c:pt idx="305">
                  <c:v>0.12389921181999999</c:v>
                </c:pt>
                <c:pt idx="306">
                  <c:v>0.13516277653100001</c:v>
                </c:pt>
                <c:pt idx="307">
                  <c:v>0.12389921181999999</c:v>
                </c:pt>
                <c:pt idx="308">
                  <c:v>9.0108517686999998E-2</c:v>
                </c:pt>
                <c:pt idx="309">
                  <c:v>7.8844952975999999E-2</c:v>
                </c:pt>
                <c:pt idx="310">
                  <c:v>5.6317823554000002E-2</c:v>
                </c:pt>
                <c:pt idx="311">
                  <c:v>6.7581388265E-2</c:v>
                </c:pt>
                <c:pt idx="312">
                  <c:v>7.8844952975999999E-2</c:v>
                </c:pt>
                <c:pt idx="313">
                  <c:v>7.8844952975999999E-2</c:v>
                </c:pt>
                <c:pt idx="314">
                  <c:v>7.8844952975999999E-2</c:v>
                </c:pt>
                <c:pt idx="315">
                  <c:v>9.0108517686999998E-2</c:v>
                </c:pt>
                <c:pt idx="316">
                  <c:v>0.12389921181999999</c:v>
                </c:pt>
                <c:pt idx="317">
                  <c:v>0.12389921181999999</c:v>
                </c:pt>
                <c:pt idx="318">
                  <c:v>0.13516277653100001</c:v>
                </c:pt>
                <c:pt idx="319">
                  <c:v>0.13516277653100001</c:v>
                </c:pt>
                <c:pt idx="320">
                  <c:v>0.13516277653100001</c:v>
                </c:pt>
                <c:pt idx="321">
                  <c:v>0.13516277653100001</c:v>
                </c:pt>
                <c:pt idx="322">
                  <c:v>0.13516277653100001</c:v>
                </c:pt>
                <c:pt idx="323">
                  <c:v>0.12389921181999999</c:v>
                </c:pt>
                <c:pt idx="324">
                  <c:v>0.16895347066399999</c:v>
                </c:pt>
                <c:pt idx="325">
                  <c:v>0.157689905953</c:v>
                </c:pt>
                <c:pt idx="326">
                  <c:v>0.14642634124199999</c:v>
                </c:pt>
                <c:pt idx="327">
                  <c:v>0.14642634124199999</c:v>
                </c:pt>
                <c:pt idx="328">
                  <c:v>0.13516277653100001</c:v>
                </c:pt>
                <c:pt idx="329">
                  <c:v>0.13516277653100001</c:v>
                </c:pt>
                <c:pt idx="330">
                  <c:v>0.11263564710899999</c:v>
                </c:pt>
                <c:pt idx="331">
                  <c:v>0.101372082398</c:v>
                </c:pt>
                <c:pt idx="332">
                  <c:v>0.11263564710899999</c:v>
                </c:pt>
                <c:pt idx="333">
                  <c:v>0.13516277653100001</c:v>
                </c:pt>
                <c:pt idx="334">
                  <c:v>0.13516277653100001</c:v>
                </c:pt>
                <c:pt idx="335">
                  <c:v>0.14642634124199999</c:v>
                </c:pt>
                <c:pt idx="336">
                  <c:v>0.16895347066399999</c:v>
                </c:pt>
                <c:pt idx="337">
                  <c:v>0.16895347066399999</c:v>
                </c:pt>
                <c:pt idx="338">
                  <c:v>0.12389921181999999</c:v>
                </c:pt>
                <c:pt idx="339">
                  <c:v>0.13516277653100001</c:v>
                </c:pt>
                <c:pt idx="340">
                  <c:v>0.13516277653100001</c:v>
                </c:pt>
                <c:pt idx="341">
                  <c:v>0.157689905953</c:v>
                </c:pt>
                <c:pt idx="342">
                  <c:v>0.157689905953</c:v>
                </c:pt>
                <c:pt idx="343">
                  <c:v>0.157689905953</c:v>
                </c:pt>
                <c:pt idx="344">
                  <c:v>0.180217035375</c:v>
                </c:pt>
                <c:pt idx="345">
                  <c:v>0.202744164797</c:v>
                </c:pt>
                <c:pt idx="346">
                  <c:v>0.180217035375</c:v>
                </c:pt>
                <c:pt idx="347">
                  <c:v>0.180217035375</c:v>
                </c:pt>
                <c:pt idx="348">
                  <c:v>0.157689905953</c:v>
                </c:pt>
                <c:pt idx="349">
                  <c:v>0.16895347066399999</c:v>
                </c:pt>
                <c:pt idx="350">
                  <c:v>0.180217035375</c:v>
                </c:pt>
                <c:pt idx="351">
                  <c:v>0.19148060008600001</c:v>
                </c:pt>
                <c:pt idx="352">
                  <c:v>0.225271294219</c:v>
                </c:pt>
                <c:pt idx="353">
                  <c:v>0.25906198835200001</c:v>
                </c:pt>
                <c:pt idx="354">
                  <c:v>0.24779842364099999</c:v>
                </c:pt>
                <c:pt idx="355">
                  <c:v>0.24779842364099999</c:v>
                </c:pt>
                <c:pt idx="356">
                  <c:v>0.23653485893000001</c:v>
                </c:pt>
                <c:pt idx="357">
                  <c:v>0.21400772950800001</c:v>
                </c:pt>
                <c:pt idx="358">
                  <c:v>0.19148060008600001</c:v>
                </c:pt>
                <c:pt idx="359">
                  <c:v>0.14642634124199999</c:v>
                </c:pt>
                <c:pt idx="360">
                  <c:v>0.13516277653100001</c:v>
                </c:pt>
                <c:pt idx="361">
                  <c:v>0.13516277653100001</c:v>
                </c:pt>
                <c:pt idx="362">
                  <c:v>0.12389921181999999</c:v>
                </c:pt>
                <c:pt idx="363">
                  <c:v>0.101372082398</c:v>
                </c:pt>
                <c:pt idx="364">
                  <c:v>0.101372082398</c:v>
                </c:pt>
                <c:pt idx="365">
                  <c:v>0.11263564710899999</c:v>
                </c:pt>
                <c:pt idx="366">
                  <c:v>0.12389921181999999</c:v>
                </c:pt>
                <c:pt idx="367">
                  <c:v>0.14642634124199999</c:v>
                </c:pt>
                <c:pt idx="368">
                  <c:v>0.16895347066399999</c:v>
                </c:pt>
                <c:pt idx="369">
                  <c:v>0.19148060008600001</c:v>
                </c:pt>
                <c:pt idx="370">
                  <c:v>0.25906198835200001</c:v>
                </c:pt>
                <c:pt idx="371">
                  <c:v>0.28158911777399998</c:v>
                </c:pt>
                <c:pt idx="372">
                  <c:v>0.25906198835200001</c:v>
                </c:pt>
                <c:pt idx="373">
                  <c:v>0.25906198835200001</c:v>
                </c:pt>
                <c:pt idx="374">
                  <c:v>0.25906198835200001</c:v>
                </c:pt>
                <c:pt idx="375">
                  <c:v>0.27032555306299999</c:v>
                </c:pt>
                <c:pt idx="376">
                  <c:v>0.29285268248500002</c:v>
                </c:pt>
                <c:pt idx="377">
                  <c:v>0.31537981190699999</c:v>
                </c:pt>
                <c:pt idx="378">
                  <c:v>0.37169763546200002</c:v>
                </c:pt>
                <c:pt idx="379">
                  <c:v>0.39422476488399999</c:v>
                </c:pt>
                <c:pt idx="380">
                  <c:v>0.45054258843900002</c:v>
                </c:pt>
                <c:pt idx="381">
                  <c:v>0.43927902372799998</c:v>
                </c:pt>
                <c:pt idx="382">
                  <c:v>0.428015459017</c:v>
                </c:pt>
                <c:pt idx="383">
                  <c:v>0.428015459017</c:v>
                </c:pt>
                <c:pt idx="384">
                  <c:v>0.382961200173</c:v>
                </c:pt>
                <c:pt idx="385">
                  <c:v>0.33790694132900001</c:v>
                </c:pt>
                <c:pt idx="386">
                  <c:v>0.32664337661800003</c:v>
                </c:pt>
                <c:pt idx="387">
                  <c:v>0.31537981190699999</c:v>
                </c:pt>
                <c:pt idx="388">
                  <c:v>0.34917050603999999</c:v>
                </c:pt>
                <c:pt idx="389">
                  <c:v>0.39422476488399999</c:v>
                </c:pt>
                <c:pt idx="390">
                  <c:v>0.36043407075099998</c:v>
                </c:pt>
                <c:pt idx="391">
                  <c:v>0.34917050603999999</c:v>
                </c:pt>
                <c:pt idx="392">
                  <c:v>0.36043407075099998</c:v>
                </c:pt>
                <c:pt idx="393">
                  <c:v>0.382961200173</c:v>
                </c:pt>
                <c:pt idx="394">
                  <c:v>0.39422476488399999</c:v>
                </c:pt>
                <c:pt idx="395">
                  <c:v>0.37169763546200002</c:v>
                </c:pt>
                <c:pt idx="396">
                  <c:v>0.34917050603999999</c:v>
                </c:pt>
                <c:pt idx="397">
                  <c:v>0.43927902372799998</c:v>
                </c:pt>
                <c:pt idx="398">
                  <c:v>0.48433328257199998</c:v>
                </c:pt>
                <c:pt idx="399">
                  <c:v>0.61949605910299999</c:v>
                </c:pt>
                <c:pt idx="400">
                  <c:v>0.82224022390100004</c:v>
                </c:pt>
                <c:pt idx="401">
                  <c:v>0.78844952976799998</c:v>
                </c:pt>
                <c:pt idx="402">
                  <c:v>0.82224022390100004</c:v>
                </c:pt>
                <c:pt idx="403">
                  <c:v>0.86729448274499998</c:v>
                </c:pt>
                <c:pt idx="404">
                  <c:v>0.84476735332300001</c:v>
                </c:pt>
                <c:pt idx="405">
                  <c:v>1.047511518121</c:v>
                </c:pt>
                <c:pt idx="406">
                  <c:v>1.024984388699</c:v>
                </c:pt>
                <c:pt idx="407">
                  <c:v>0.856030918034</c:v>
                </c:pt>
                <c:pt idx="408">
                  <c:v>0.99119369456600004</c:v>
                </c:pt>
                <c:pt idx="409">
                  <c:v>1.047511518121</c:v>
                </c:pt>
                <c:pt idx="410">
                  <c:v>1.0813022122539999</c:v>
                </c:pt>
                <c:pt idx="411">
                  <c:v>1.1263564710980001</c:v>
                </c:pt>
                <c:pt idx="412">
                  <c:v>1.14888360052</c:v>
                </c:pt>
                <c:pt idx="413">
                  <c:v>1.193937859364</c:v>
                </c:pt>
                <c:pt idx="414">
                  <c:v>1.3628913300279999</c:v>
                </c:pt>
                <c:pt idx="415">
                  <c:v>1.419209153583</c:v>
                </c:pt>
                <c:pt idx="416">
                  <c:v>1.644480447803</c:v>
                </c:pt>
                <c:pt idx="417">
                  <c:v>1.802170353757</c:v>
                </c:pt>
                <c:pt idx="418">
                  <c:v>1.9260695655769999</c:v>
                </c:pt>
                <c:pt idx="419">
                  <c:v>1.903542436155</c:v>
                </c:pt>
                <c:pt idx="420">
                  <c:v>2.1062866009530001</c:v>
                </c:pt>
                <c:pt idx="421">
                  <c:v>2.365348589306</c:v>
                </c:pt>
                <c:pt idx="422">
                  <c:v>2.4216664128610002</c:v>
                </c:pt>
                <c:pt idx="423">
                  <c:v>2.5906198835250001</c:v>
                </c:pt>
                <c:pt idx="424">
                  <c:v>2.75957335419</c:v>
                </c:pt>
                <c:pt idx="425">
                  <c:v>3.0298989072540001</c:v>
                </c:pt>
                <c:pt idx="426">
                  <c:v>3.4804414956929999</c:v>
                </c:pt>
                <c:pt idx="427">
                  <c:v>3.6043407075139999</c:v>
                </c:pt>
                <c:pt idx="428">
                  <c:v>3.7732941781779998</c:v>
                </c:pt>
                <c:pt idx="429">
                  <c:v>4.0774104253749996</c:v>
                </c:pt>
                <c:pt idx="430">
                  <c:v>4.392790237282</c:v>
                </c:pt>
                <c:pt idx="431">
                  <c:v>4.5504801432360003</c:v>
                </c:pt>
                <c:pt idx="432">
                  <c:v>4.7644878727449997</c:v>
                </c:pt>
                <c:pt idx="433">
                  <c:v>5.1136583787849998</c:v>
                </c:pt>
                <c:pt idx="434">
                  <c:v>5.3952474965599997</c:v>
                </c:pt>
                <c:pt idx="435">
                  <c:v>5.5078831436689999</c:v>
                </c:pt>
                <c:pt idx="436">
                  <c:v>5.6768366143340003</c:v>
                </c:pt>
                <c:pt idx="437">
                  <c:v>5.6543094849119999</c:v>
                </c:pt>
                <c:pt idx="438">
                  <c:v>5.9696892968200004</c:v>
                </c:pt>
                <c:pt idx="439">
                  <c:v>6.0710613792180004</c:v>
                </c:pt>
                <c:pt idx="440">
                  <c:v>5.9922164262419999</c:v>
                </c:pt>
                <c:pt idx="441">
                  <c:v>6.0710613792180004</c:v>
                </c:pt>
                <c:pt idx="442">
                  <c:v>6.4202318852589997</c:v>
                </c:pt>
                <c:pt idx="443">
                  <c:v>6.7919295207210002</c:v>
                </c:pt>
                <c:pt idx="444">
                  <c:v>7.3213170621370001</c:v>
                </c:pt>
                <c:pt idx="445">
                  <c:v>7.4902705328019996</c:v>
                </c:pt>
                <c:pt idx="446">
                  <c:v>7.7605960858660001</c:v>
                </c:pt>
                <c:pt idx="447">
                  <c:v>8.1660844154610004</c:v>
                </c:pt>
                <c:pt idx="448">
                  <c:v>8.6842083921659992</c:v>
                </c:pt>
                <c:pt idx="449">
                  <c:v>8.8982161216750004</c:v>
                </c:pt>
                <c:pt idx="450">
                  <c:v>9.0784331570510002</c:v>
                </c:pt>
                <c:pt idx="451">
                  <c:v>9.1572781100270007</c:v>
                </c:pt>
                <c:pt idx="452">
                  <c:v>9.2023323688709997</c:v>
                </c:pt>
                <c:pt idx="453">
                  <c:v>8.9657975099409999</c:v>
                </c:pt>
                <c:pt idx="454">
                  <c:v>9.0559060276289998</c:v>
                </c:pt>
                <c:pt idx="455">
                  <c:v>8.9883246393630003</c:v>
                </c:pt>
                <c:pt idx="456">
                  <c:v>9.1347509806050002</c:v>
                </c:pt>
                <c:pt idx="457">
                  <c:v>8.9883246393630003</c:v>
                </c:pt>
                <c:pt idx="458">
                  <c:v>8.8193711686979999</c:v>
                </c:pt>
                <c:pt idx="459">
                  <c:v>8.6278905686110008</c:v>
                </c:pt>
                <c:pt idx="460">
                  <c:v>8.72926265101</c:v>
                </c:pt>
                <c:pt idx="461">
                  <c:v>8.4702006626579998</c:v>
                </c:pt>
                <c:pt idx="462">
                  <c:v>8.5377820509229991</c:v>
                </c:pt>
                <c:pt idx="463">
                  <c:v>8.3688285802590006</c:v>
                </c:pt>
                <c:pt idx="464">
                  <c:v>8.3575650155479995</c:v>
                </c:pt>
                <c:pt idx="465">
                  <c:v>8.3237743214149997</c:v>
                </c:pt>
                <c:pt idx="466">
                  <c:v>8.4026192743920003</c:v>
                </c:pt>
                <c:pt idx="467">
                  <c:v>8.3125107567040004</c:v>
                </c:pt>
                <c:pt idx="468">
                  <c:v>8.0985030271949991</c:v>
                </c:pt>
                <c:pt idx="469">
                  <c:v>7.6930146975999998</c:v>
                </c:pt>
                <c:pt idx="470">
                  <c:v>7.2762628032940002</c:v>
                </c:pt>
                <c:pt idx="471">
                  <c:v>6.9834101208080002</c:v>
                </c:pt>
                <c:pt idx="472">
                  <c:v>6.8144566501429997</c:v>
                </c:pt>
                <c:pt idx="473">
                  <c:v>6.4314954499699999</c:v>
                </c:pt>
                <c:pt idx="474">
                  <c:v>6.2738055440159997</c:v>
                </c:pt>
                <c:pt idx="475">
                  <c:v>6.6117124853459996</c:v>
                </c:pt>
                <c:pt idx="476">
                  <c:v>6.532867532369</c:v>
                </c:pt>
                <c:pt idx="477">
                  <c:v>6.4652861441029996</c:v>
                </c:pt>
                <c:pt idx="478">
                  <c:v>6.3864411911259999</c:v>
                </c:pt>
                <c:pt idx="479">
                  <c:v>5.8119993908660001</c:v>
                </c:pt>
                <c:pt idx="480">
                  <c:v>5.6655730496230001</c:v>
                </c:pt>
                <c:pt idx="481">
                  <c:v>5.6655730496230001</c:v>
                </c:pt>
                <c:pt idx="482">
                  <c:v>5.2826118494500003</c:v>
                </c:pt>
                <c:pt idx="483">
                  <c:v>5.1023948140739996</c:v>
                </c:pt>
                <c:pt idx="484">
                  <c:v>5.0460769905190004</c:v>
                </c:pt>
                <c:pt idx="485">
                  <c:v>4.8208056962999999</c:v>
                </c:pt>
                <c:pt idx="486">
                  <c:v>4.9221777786979999</c:v>
                </c:pt>
                <c:pt idx="487">
                  <c:v>4.9672320375419998</c:v>
                </c:pt>
                <c:pt idx="488">
                  <c:v>4.6743793550569999</c:v>
                </c:pt>
                <c:pt idx="489">
                  <c:v>4.2576274607500002</c:v>
                </c:pt>
                <c:pt idx="490">
                  <c:v>4.1224646842189996</c:v>
                </c:pt>
                <c:pt idx="491">
                  <c:v>3.8408755664440002</c:v>
                </c:pt>
                <c:pt idx="492">
                  <c:v>3.8859298252880001</c:v>
                </c:pt>
                <c:pt idx="493">
                  <c:v>3.7395034840450001</c:v>
                </c:pt>
                <c:pt idx="494">
                  <c:v>3.7169763546230001</c:v>
                </c:pt>
                <c:pt idx="495">
                  <c:v>3.5705500133810002</c:v>
                </c:pt>
                <c:pt idx="496">
                  <c:v>3.4579143662709999</c:v>
                </c:pt>
                <c:pt idx="497">
                  <c:v>3.3790694132939998</c:v>
                </c:pt>
                <c:pt idx="498">
                  <c:v>3.2551702014730002</c:v>
                </c:pt>
                <c:pt idx="499">
                  <c:v>2.928526824855</c:v>
                </c:pt>
                <c:pt idx="500">
                  <c:v>2.7370462247680001</c:v>
                </c:pt>
                <c:pt idx="501">
                  <c:v>2.4554571069929998</c:v>
                </c:pt>
                <c:pt idx="502">
                  <c:v>2.342821459884</c:v>
                </c:pt>
                <c:pt idx="503">
                  <c:v>2.2977672010400001</c:v>
                </c:pt>
                <c:pt idx="504">
                  <c:v>2.027441647976</c:v>
                </c:pt>
                <c:pt idx="505">
                  <c:v>2.07249590682</c:v>
                </c:pt>
                <c:pt idx="506">
                  <c:v>2.0837594715310002</c:v>
                </c:pt>
                <c:pt idx="507">
                  <c:v>2.1513408597970001</c:v>
                </c:pt>
                <c:pt idx="508">
                  <c:v>2.2639765069069999</c:v>
                </c:pt>
                <c:pt idx="509">
                  <c:v>2.4554571069929998</c:v>
                </c:pt>
                <c:pt idx="510">
                  <c:v>2.365348589306</c:v>
                </c:pt>
                <c:pt idx="511">
                  <c:v>2.4554571069929998</c:v>
                </c:pt>
                <c:pt idx="512">
                  <c:v>2.342821459884</c:v>
                </c:pt>
                <c:pt idx="513">
                  <c:v>2.5906198835250001</c:v>
                </c:pt>
                <c:pt idx="514">
                  <c:v>2.8834725660110001</c:v>
                </c:pt>
                <c:pt idx="515">
                  <c:v>2.8609454365890001</c:v>
                </c:pt>
                <c:pt idx="516">
                  <c:v>3.0636896013860002</c:v>
                </c:pt>
                <c:pt idx="517">
                  <c:v>3.2551702014730002</c:v>
                </c:pt>
                <c:pt idx="518">
                  <c:v>3.4015965427160002</c:v>
                </c:pt>
                <c:pt idx="519">
                  <c:v>3.660658531068</c:v>
                </c:pt>
                <c:pt idx="520">
                  <c:v>3.6043407075139999</c:v>
                </c:pt>
                <c:pt idx="521">
                  <c:v>3.536759319248</c:v>
                </c:pt>
                <c:pt idx="522">
                  <c:v>3.784557742889</c:v>
                </c:pt>
                <c:pt idx="523">
                  <c:v>3.7282399193339999</c:v>
                </c:pt>
                <c:pt idx="524">
                  <c:v>3.807084872311</c:v>
                </c:pt>
                <c:pt idx="525">
                  <c:v>3.8859298252880001</c:v>
                </c:pt>
                <c:pt idx="526">
                  <c:v>4.144991813641</c:v>
                </c:pt>
                <c:pt idx="527">
                  <c:v>4.3364724137269999</c:v>
                </c:pt>
                <c:pt idx="528">
                  <c:v>4.4941623196810001</c:v>
                </c:pt>
                <c:pt idx="529">
                  <c:v>4.3139452843050003</c:v>
                </c:pt>
                <c:pt idx="530">
                  <c:v>4.2351003313289999</c:v>
                </c:pt>
                <c:pt idx="531">
                  <c:v>4.2688910254610004</c:v>
                </c:pt>
                <c:pt idx="532">
                  <c:v>4.4040538019930002</c:v>
                </c:pt>
                <c:pt idx="533">
                  <c:v>4.144991813641</c:v>
                </c:pt>
                <c:pt idx="534">
                  <c:v>4.0661468606640003</c:v>
                </c:pt>
                <c:pt idx="535">
                  <c:v>3.7507670487559999</c:v>
                </c:pt>
                <c:pt idx="536">
                  <c:v>3.807084872311</c:v>
                </c:pt>
                <c:pt idx="537">
                  <c:v>3.9647747782649998</c:v>
                </c:pt>
                <c:pt idx="538">
                  <c:v>3.9422476488429998</c:v>
                </c:pt>
                <c:pt idx="539">
                  <c:v>3.7282399193339999</c:v>
                </c:pt>
                <c:pt idx="540">
                  <c:v>3.9422476488429998</c:v>
                </c:pt>
                <c:pt idx="541">
                  <c:v>3.8183484370220002</c:v>
                </c:pt>
                <c:pt idx="542">
                  <c:v>3.7057127899119999</c:v>
                </c:pt>
                <c:pt idx="543">
                  <c:v>3.4917050604040001</c:v>
                </c:pt>
                <c:pt idx="544">
                  <c:v>3.4804414956929999</c:v>
                </c:pt>
                <c:pt idx="545">
                  <c:v>3.2551702014730002</c:v>
                </c:pt>
                <c:pt idx="546">
                  <c:v>3.1763252484960001</c:v>
                </c:pt>
                <c:pt idx="547">
                  <c:v>2.7708369189009998</c:v>
                </c:pt>
                <c:pt idx="548">
                  <c:v>2.5906198835250001</c:v>
                </c:pt>
                <c:pt idx="549">
                  <c:v>2.5230384952590001</c:v>
                </c:pt>
                <c:pt idx="550">
                  <c:v>2.2527129421960002</c:v>
                </c:pt>
                <c:pt idx="551">
                  <c:v>1.8810153067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pocet_PCR_testu_7dni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53</c:f>
              <c:numCache>
                <c:formatCode>m/d/yyyy</c:formatCode>
                <c:ptCount val="55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</c:numCache>
            </c:numRef>
          </c:cat>
          <c:val>
            <c:numRef>
              <c:f>Sheet1!$B$2:$B$553</c:f>
              <c:numCache>
                <c:formatCode>0%</c:formatCode>
                <c:ptCount val="552"/>
                <c:pt idx="0">
                  <c:v>3.0074E-2</c:v>
                </c:pt>
                <c:pt idx="1">
                  <c:v>5.2435000000000002E-2</c:v>
                </c:pt>
                <c:pt idx="2">
                  <c:v>4.6292E-2</c:v>
                </c:pt>
                <c:pt idx="3">
                  <c:v>0.149538</c:v>
                </c:pt>
                <c:pt idx="4">
                  <c:v>0.188191</c:v>
                </c:pt>
                <c:pt idx="5">
                  <c:v>6.9886000000000004E-2</c:v>
                </c:pt>
                <c:pt idx="6">
                  <c:v>4.4394999999999997E-2</c:v>
                </c:pt>
                <c:pt idx="7">
                  <c:v>6.9422999999999999E-2</c:v>
                </c:pt>
                <c:pt idx="8">
                  <c:v>8.0935999999999994E-2</c:v>
                </c:pt>
                <c:pt idx="9">
                  <c:v>8.2905999999999994E-2</c:v>
                </c:pt>
                <c:pt idx="10">
                  <c:v>0.20478099999999999</c:v>
                </c:pt>
                <c:pt idx="11">
                  <c:v>0.31778800000000001</c:v>
                </c:pt>
                <c:pt idx="12">
                  <c:v>0.224858</c:v>
                </c:pt>
                <c:pt idx="13">
                  <c:v>0.19816500000000001</c:v>
                </c:pt>
                <c:pt idx="14">
                  <c:v>0.18851599999999999</c:v>
                </c:pt>
                <c:pt idx="15">
                  <c:v>0.18325900000000001</c:v>
                </c:pt>
                <c:pt idx="16">
                  <c:v>0.16411600000000001</c:v>
                </c:pt>
                <c:pt idx="17">
                  <c:v>0.19053800000000001</c:v>
                </c:pt>
                <c:pt idx="18">
                  <c:v>0.21329100000000001</c:v>
                </c:pt>
                <c:pt idx="19">
                  <c:v>0.108228</c:v>
                </c:pt>
                <c:pt idx="20">
                  <c:v>4.5204000000000001E-2</c:v>
                </c:pt>
                <c:pt idx="21">
                  <c:v>2.4198999999999998E-2</c:v>
                </c:pt>
                <c:pt idx="22">
                  <c:v>-2.2249000000000001E-2</c:v>
                </c:pt>
                <c:pt idx="23">
                  <c:v>-5.9804999999999997E-2</c:v>
                </c:pt>
                <c:pt idx="24">
                  <c:v>-2.1781999999999999E-2</c:v>
                </c:pt>
                <c:pt idx="25">
                  <c:v>-8.9999999999999998E-4</c:v>
                </c:pt>
                <c:pt idx="26">
                  <c:v>-8.4166000000000005E-2</c:v>
                </c:pt>
                <c:pt idx="27">
                  <c:v>-0.15998200000000001</c:v>
                </c:pt>
                <c:pt idx="28">
                  <c:v>-0.196852</c:v>
                </c:pt>
                <c:pt idx="29">
                  <c:v>-0.21845700000000001</c:v>
                </c:pt>
                <c:pt idx="30">
                  <c:v>-0.21137600000000001</c:v>
                </c:pt>
                <c:pt idx="31">
                  <c:v>-0.17585100000000001</c:v>
                </c:pt>
                <c:pt idx="32">
                  <c:v>-0.15041399999999999</c:v>
                </c:pt>
                <c:pt idx="33">
                  <c:v>-0.17799899999999999</c:v>
                </c:pt>
                <c:pt idx="34">
                  <c:v>-0.13431899999999999</c:v>
                </c:pt>
                <c:pt idx="35">
                  <c:v>-9.4222E-2</c:v>
                </c:pt>
                <c:pt idx="36">
                  <c:v>-8.3239999999999995E-2</c:v>
                </c:pt>
                <c:pt idx="37">
                  <c:v>-7.8410999999999995E-2</c:v>
                </c:pt>
                <c:pt idx="38">
                  <c:v>2.9659999999999999E-3</c:v>
                </c:pt>
                <c:pt idx="39">
                  <c:v>8.2562999999999998E-2</c:v>
                </c:pt>
                <c:pt idx="40">
                  <c:v>5.2729999999999999E-2</c:v>
                </c:pt>
                <c:pt idx="41">
                  <c:v>5.4650000000000002E-3</c:v>
                </c:pt>
                <c:pt idx="42">
                  <c:v>2.3514E-2</c:v>
                </c:pt>
                <c:pt idx="43">
                  <c:v>6.5471000000000001E-2</c:v>
                </c:pt>
                <c:pt idx="44">
                  <c:v>9.9923999999999999E-2</c:v>
                </c:pt>
                <c:pt idx="45">
                  <c:v>0.20727499999999999</c:v>
                </c:pt>
                <c:pt idx="46">
                  <c:v>0.30797799999999997</c:v>
                </c:pt>
                <c:pt idx="47">
                  <c:v>0.231625</c:v>
                </c:pt>
                <c:pt idx="48">
                  <c:v>0.18815200000000001</c:v>
                </c:pt>
                <c:pt idx="49">
                  <c:v>0.16217100000000001</c:v>
                </c:pt>
                <c:pt idx="50">
                  <c:v>0.15190300000000001</c:v>
                </c:pt>
                <c:pt idx="51">
                  <c:v>0.13319900000000001</c:v>
                </c:pt>
                <c:pt idx="52">
                  <c:v>0.15486800000000001</c:v>
                </c:pt>
                <c:pt idx="53">
                  <c:v>0.20454600000000001</c:v>
                </c:pt>
                <c:pt idx="54">
                  <c:v>0.12392400000000001</c:v>
                </c:pt>
                <c:pt idx="55">
                  <c:v>6.0368999999999999E-2</c:v>
                </c:pt>
                <c:pt idx="56">
                  <c:v>3.2682999999999997E-2</c:v>
                </c:pt>
                <c:pt idx="57">
                  <c:v>-2.7518000000000001E-2</c:v>
                </c:pt>
                <c:pt idx="58">
                  <c:v>-7.5171000000000002E-2</c:v>
                </c:pt>
                <c:pt idx="59">
                  <c:v>-7.1312E-2</c:v>
                </c:pt>
                <c:pt idx="60">
                  <c:v>-5.6516999999999998E-2</c:v>
                </c:pt>
                <c:pt idx="61">
                  <c:v>-0.11640300000000001</c:v>
                </c:pt>
                <c:pt idx="62">
                  <c:v>-0.170233</c:v>
                </c:pt>
                <c:pt idx="63">
                  <c:v>-0.182002</c:v>
                </c:pt>
                <c:pt idx="64">
                  <c:v>-0.158299</c:v>
                </c:pt>
                <c:pt idx="65">
                  <c:v>-0.15728900000000001</c:v>
                </c:pt>
                <c:pt idx="66">
                  <c:v>-0.15389800000000001</c:v>
                </c:pt>
                <c:pt idx="67">
                  <c:v>-0.134522</c:v>
                </c:pt>
                <c:pt idx="68">
                  <c:v>-0.18928200000000001</c:v>
                </c:pt>
                <c:pt idx="69">
                  <c:v>-0.21679000000000001</c:v>
                </c:pt>
                <c:pt idx="70">
                  <c:v>-0.231321</c:v>
                </c:pt>
                <c:pt idx="71">
                  <c:v>-0.27933200000000002</c:v>
                </c:pt>
                <c:pt idx="72">
                  <c:v>-0.31312099999999998</c:v>
                </c:pt>
                <c:pt idx="73">
                  <c:v>-0.295404</c:v>
                </c:pt>
                <c:pt idx="74">
                  <c:v>-0.27338000000000001</c:v>
                </c:pt>
                <c:pt idx="75">
                  <c:v>-0.31636700000000001</c:v>
                </c:pt>
                <c:pt idx="76">
                  <c:v>-0.34317300000000001</c:v>
                </c:pt>
                <c:pt idx="77">
                  <c:v>-0.39085799999999998</c:v>
                </c:pt>
                <c:pt idx="78">
                  <c:v>-0.38964100000000002</c:v>
                </c:pt>
                <c:pt idx="79">
                  <c:v>-0.378077</c:v>
                </c:pt>
                <c:pt idx="80">
                  <c:v>-0.33446199999999998</c:v>
                </c:pt>
                <c:pt idx="81">
                  <c:v>-0.28570699999999999</c:v>
                </c:pt>
                <c:pt idx="82">
                  <c:v>-0.33516600000000002</c:v>
                </c:pt>
                <c:pt idx="83">
                  <c:v>-0.30463299999999999</c:v>
                </c:pt>
                <c:pt idx="84">
                  <c:v>-0.220415</c:v>
                </c:pt>
                <c:pt idx="85">
                  <c:v>-0.20410400000000001</c:v>
                </c:pt>
                <c:pt idx="86">
                  <c:v>-0.21491199999999999</c:v>
                </c:pt>
                <c:pt idx="87">
                  <c:v>-0.14849999999999999</c:v>
                </c:pt>
                <c:pt idx="88">
                  <c:v>-0.11307399999999999</c:v>
                </c:pt>
                <c:pt idx="89">
                  <c:v>-0.195877</c:v>
                </c:pt>
                <c:pt idx="90">
                  <c:v>-0.197329</c:v>
                </c:pt>
                <c:pt idx="91">
                  <c:v>-0.22976199999999999</c:v>
                </c:pt>
                <c:pt idx="92">
                  <c:v>-0.21116299999999999</c:v>
                </c:pt>
                <c:pt idx="93">
                  <c:v>-0.194047</c:v>
                </c:pt>
                <c:pt idx="94">
                  <c:v>-0.12501100000000001</c:v>
                </c:pt>
                <c:pt idx="95">
                  <c:v>-6.9797999999999999E-2</c:v>
                </c:pt>
                <c:pt idx="96">
                  <c:v>-0.15792500000000001</c:v>
                </c:pt>
                <c:pt idx="97">
                  <c:v>-0.15118400000000001</c:v>
                </c:pt>
                <c:pt idx="98">
                  <c:v>-0.120729</c:v>
                </c:pt>
                <c:pt idx="99">
                  <c:v>-9.2433000000000001E-2</c:v>
                </c:pt>
                <c:pt idx="100">
                  <c:v>-7.4048000000000003E-2</c:v>
                </c:pt>
                <c:pt idx="101">
                  <c:v>3.2856000000000003E-2</c:v>
                </c:pt>
                <c:pt idx="102">
                  <c:v>9.7572999999999993E-2</c:v>
                </c:pt>
                <c:pt idx="103">
                  <c:v>-4.8040000000000001E-3</c:v>
                </c:pt>
                <c:pt idx="104">
                  <c:v>-7.6189999999999999E-3</c:v>
                </c:pt>
                <c:pt idx="105">
                  <c:v>1.6794E-2</c:v>
                </c:pt>
                <c:pt idx="106">
                  <c:v>4.3001999999999999E-2</c:v>
                </c:pt>
                <c:pt idx="107">
                  <c:v>2.9309000000000002E-2</c:v>
                </c:pt>
                <c:pt idx="108">
                  <c:v>0.105074</c:v>
                </c:pt>
                <c:pt idx="109">
                  <c:v>0.16555500000000001</c:v>
                </c:pt>
                <c:pt idx="110">
                  <c:v>5.2597999999999999E-2</c:v>
                </c:pt>
                <c:pt idx="111">
                  <c:v>1.7745E-2</c:v>
                </c:pt>
                <c:pt idx="112">
                  <c:v>6.0020000000000004E-3</c:v>
                </c:pt>
                <c:pt idx="113">
                  <c:v>2.2407E-2</c:v>
                </c:pt>
                <c:pt idx="114">
                  <c:v>-0.11683499999999999</c:v>
                </c:pt>
                <c:pt idx="115">
                  <c:v>-0.215027</c:v>
                </c:pt>
                <c:pt idx="116">
                  <c:v>-0.260967</c:v>
                </c:pt>
                <c:pt idx="117">
                  <c:v>-0.335509</c:v>
                </c:pt>
                <c:pt idx="118">
                  <c:v>-0.37013000000000001</c:v>
                </c:pt>
                <c:pt idx="119">
                  <c:v>-0.39663100000000001</c:v>
                </c:pt>
                <c:pt idx="120">
                  <c:v>-0.36564600000000003</c:v>
                </c:pt>
                <c:pt idx="121">
                  <c:v>-0.19953399999999999</c:v>
                </c:pt>
                <c:pt idx="122">
                  <c:v>-8.6241999999999999E-2</c:v>
                </c:pt>
                <c:pt idx="123">
                  <c:v>7.1130000000000004E-3</c:v>
                </c:pt>
                <c:pt idx="124">
                  <c:v>-6.1303999999999997E-2</c:v>
                </c:pt>
                <c:pt idx="125">
                  <c:v>-5.6641999999999998E-2</c:v>
                </c:pt>
                <c:pt idx="126">
                  <c:v>-7.8849999999999996E-3</c:v>
                </c:pt>
                <c:pt idx="127">
                  <c:v>9.7710000000000005E-2</c:v>
                </c:pt>
                <c:pt idx="128">
                  <c:v>0.19445799999999999</c:v>
                </c:pt>
                <c:pt idx="129">
                  <c:v>0.34700300000000001</c:v>
                </c:pt>
                <c:pt idx="130">
                  <c:v>0.33971299999999999</c:v>
                </c:pt>
                <c:pt idx="131">
                  <c:v>0.157583</c:v>
                </c:pt>
                <c:pt idx="132">
                  <c:v>6.6553000000000001E-2</c:v>
                </c:pt>
                <c:pt idx="133">
                  <c:v>1.6633999999999999E-2</c:v>
                </c:pt>
                <c:pt idx="134">
                  <c:v>-2.9933000000000001E-2</c:v>
                </c:pt>
                <c:pt idx="135">
                  <c:v>-0.112923</c:v>
                </c:pt>
                <c:pt idx="136">
                  <c:v>-0.19601199999999999</c:v>
                </c:pt>
                <c:pt idx="137">
                  <c:v>-0.20738799999999999</c:v>
                </c:pt>
                <c:pt idx="138">
                  <c:v>-0.276835</c:v>
                </c:pt>
                <c:pt idx="139">
                  <c:v>-0.29592099999999999</c:v>
                </c:pt>
                <c:pt idx="140">
                  <c:v>-0.28154800000000002</c:v>
                </c:pt>
                <c:pt idx="141">
                  <c:v>-0.27067200000000002</c:v>
                </c:pt>
                <c:pt idx="142">
                  <c:v>-0.268513</c:v>
                </c:pt>
                <c:pt idx="143">
                  <c:v>-0.19952600000000001</c:v>
                </c:pt>
                <c:pt idx="144">
                  <c:v>-0.16722999999999999</c:v>
                </c:pt>
                <c:pt idx="145">
                  <c:v>-0.23766300000000001</c:v>
                </c:pt>
                <c:pt idx="146">
                  <c:v>-0.24160300000000001</c:v>
                </c:pt>
                <c:pt idx="147">
                  <c:v>-0.225327</c:v>
                </c:pt>
                <c:pt idx="148">
                  <c:v>-0.18920300000000001</c:v>
                </c:pt>
                <c:pt idx="149">
                  <c:v>-0.18625900000000001</c:v>
                </c:pt>
                <c:pt idx="150">
                  <c:v>-0.106697</c:v>
                </c:pt>
                <c:pt idx="151">
                  <c:v>-5.7043000000000003E-2</c:v>
                </c:pt>
                <c:pt idx="152">
                  <c:v>-0.14738399999999999</c:v>
                </c:pt>
                <c:pt idx="153">
                  <c:v>-0.14457500000000001</c:v>
                </c:pt>
                <c:pt idx="154">
                  <c:v>-0.135959</c:v>
                </c:pt>
                <c:pt idx="155">
                  <c:v>-0.11581900000000001</c:v>
                </c:pt>
                <c:pt idx="156">
                  <c:v>-0.13384599999999999</c:v>
                </c:pt>
                <c:pt idx="157">
                  <c:v>-5.8125999999999997E-2</c:v>
                </c:pt>
                <c:pt idx="158">
                  <c:v>-2.0317000000000002E-2</c:v>
                </c:pt>
                <c:pt idx="159">
                  <c:v>-0.118465</c:v>
                </c:pt>
                <c:pt idx="160">
                  <c:v>-0.140349</c:v>
                </c:pt>
                <c:pt idx="161">
                  <c:v>-0.14354800000000001</c:v>
                </c:pt>
                <c:pt idx="162">
                  <c:v>-0.14110500000000001</c:v>
                </c:pt>
                <c:pt idx="163">
                  <c:v>-0.161555</c:v>
                </c:pt>
                <c:pt idx="164">
                  <c:v>-8.7868000000000002E-2</c:v>
                </c:pt>
                <c:pt idx="165">
                  <c:v>-4.5378000000000002E-2</c:v>
                </c:pt>
                <c:pt idx="166">
                  <c:v>-0.12972900000000001</c:v>
                </c:pt>
                <c:pt idx="167">
                  <c:v>-0.128936</c:v>
                </c:pt>
                <c:pt idx="168">
                  <c:v>-0.11285000000000001</c:v>
                </c:pt>
                <c:pt idx="169">
                  <c:v>-8.2314999999999999E-2</c:v>
                </c:pt>
                <c:pt idx="170">
                  <c:v>-6.8375000000000005E-2</c:v>
                </c:pt>
                <c:pt idx="171">
                  <c:v>4.0451000000000001E-2</c:v>
                </c:pt>
                <c:pt idx="172">
                  <c:v>9.1449000000000003E-2</c:v>
                </c:pt>
                <c:pt idx="173">
                  <c:v>-1.882E-2</c:v>
                </c:pt>
                <c:pt idx="174">
                  <c:v>-3.7929999999999998E-2</c:v>
                </c:pt>
                <c:pt idx="175">
                  <c:v>-1.4104999999999999E-2</c:v>
                </c:pt>
                <c:pt idx="176">
                  <c:v>1.276E-3</c:v>
                </c:pt>
                <c:pt idx="177">
                  <c:v>-1.4747E-2</c:v>
                </c:pt>
                <c:pt idx="178">
                  <c:v>6.2941999999999998E-2</c:v>
                </c:pt>
                <c:pt idx="179">
                  <c:v>0.119438</c:v>
                </c:pt>
                <c:pt idx="180">
                  <c:v>4.692E-3</c:v>
                </c:pt>
                <c:pt idx="181">
                  <c:v>-3.9164999999999998E-2</c:v>
                </c:pt>
                <c:pt idx="182">
                  <c:v>-4.6237E-2</c:v>
                </c:pt>
                <c:pt idx="183">
                  <c:v>-6.8538000000000002E-2</c:v>
                </c:pt>
                <c:pt idx="184">
                  <c:v>-9.5892000000000005E-2</c:v>
                </c:pt>
                <c:pt idx="185">
                  <c:v>-3.9574999999999999E-2</c:v>
                </c:pt>
                <c:pt idx="186">
                  <c:v>-1.5658999999999999E-2</c:v>
                </c:pt>
                <c:pt idx="187">
                  <c:v>-0.112275</c:v>
                </c:pt>
                <c:pt idx="188">
                  <c:v>-0.154806</c:v>
                </c:pt>
                <c:pt idx="189">
                  <c:v>-0.171738</c:v>
                </c:pt>
                <c:pt idx="190">
                  <c:v>-0.17141000000000001</c:v>
                </c:pt>
                <c:pt idx="191">
                  <c:v>-0.19669900000000001</c:v>
                </c:pt>
                <c:pt idx="192">
                  <c:v>-0.14702399999999999</c:v>
                </c:pt>
                <c:pt idx="193">
                  <c:v>-0.122711</c:v>
                </c:pt>
                <c:pt idx="194">
                  <c:v>-0.201852</c:v>
                </c:pt>
                <c:pt idx="195">
                  <c:v>-0.21385199999999999</c:v>
                </c:pt>
                <c:pt idx="196">
                  <c:v>-0.21347099999999999</c:v>
                </c:pt>
                <c:pt idx="197">
                  <c:v>-0.22109400000000001</c:v>
                </c:pt>
                <c:pt idx="198">
                  <c:v>-0.237542</c:v>
                </c:pt>
                <c:pt idx="199">
                  <c:v>-0.190169</c:v>
                </c:pt>
                <c:pt idx="200">
                  <c:v>-0.14426600000000001</c:v>
                </c:pt>
                <c:pt idx="201">
                  <c:v>-0.222664</c:v>
                </c:pt>
                <c:pt idx="202">
                  <c:v>-0.25199199999999999</c:v>
                </c:pt>
                <c:pt idx="203">
                  <c:v>-0.25007000000000001</c:v>
                </c:pt>
                <c:pt idx="204">
                  <c:v>-0.24385399999999999</c:v>
                </c:pt>
                <c:pt idx="205">
                  <c:v>-0.24687799999999999</c:v>
                </c:pt>
                <c:pt idx="206">
                  <c:v>-0.18976399999999999</c:v>
                </c:pt>
                <c:pt idx="207">
                  <c:v>-0.17225199999999999</c:v>
                </c:pt>
                <c:pt idx="208">
                  <c:v>-0.25880900000000001</c:v>
                </c:pt>
                <c:pt idx="209">
                  <c:v>-0.27067799999999997</c:v>
                </c:pt>
                <c:pt idx="210">
                  <c:v>-0.26084299999999999</c:v>
                </c:pt>
                <c:pt idx="211">
                  <c:v>-0.247915</c:v>
                </c:pt>
                <c:pt idx="212">
                  <c:v>-0.24829999999999999</c:v>
                </c:pt>
                <c:pt idx="213">
                  <c:v>-0.23657300000000001</c:v>
                </c:pt>
                <c:pt idx="214">
                  <c:v>-0.213506</c:v>
                </c:pt>
                <c:pt idx="215">
                  <c:v>-0.28738200000000003</c:v>
                </c:pt>
                <c:pt idx="216">
                  <c:v>-0.38637700000000003</c:v>
                </c:pt>
                <c:pt idx="217">
                  <c:v>-0.37913599999999997</c:v>
                </c:pt>
                <c:pt idx="218">
                  <c:v>-0.35760399999999998</c:v>
                </c:pt>
                <c:pt idx="219">
                  <c:v>-0.322243</c:v>
                </c:pt>
                <c:pt idx="220">
                  <c:v>-0.182453</c:v>
                </c:pt>
                <c:pt idx="221">
                  <c:v>-0.13170599999999999</c:v>
                </c:pt>
                <c:pt idx="222">
                  <c:v>-0.14795700000000001</c:v>
                </c:pt>
                <c:pt idx="223">
                  <c:v>-4.2908000000000002E-2</c:v>
                </c:pt>
                <c:pt idx="224">
                  <c:v>-4.4889999999999999E-2</c:v>
                </c:pt>
                <c:pt idx="225">
                  <c:v>-6.8567000000000003E-2</c:v>
                </c:pt>
                <c:pt idx="226">
                  <c:v>-8.9814000000000005E-2</c:v>
                </c:pt>
                <c:pt idx="227">
                  <c:v>-9.2440999999999995E-2</c:v>
                </c:pt>
                <c:pt idx="228">
                  <c:v>-8.5430000000000006E-2</c:v>
                </c:pt>
                <c:pt idx="229">
                  <c:v>-0.17436199999999999</c:v>
                </c:pt>
                <c:pt idx="230">
                  <c:v>-0.25914900000000002</c:v>
                </c:pt>
                <c:pt idx="231">
                  <c:v>-0.24965200000000001</c:v>
                </c:pt>
                <c:pt idx="232">
                  <c:v>-0.20905199999999999</c:v>
                </c:pt>
                <c:pt idx="233">
                  <c:v>-0.18692</c:v>
                </c:pt>
                <c:pt idx="234">
                  <c:v>-0.113346</c:v>
                </c:pt>
                <c:pt idx="235">
                  <c:v>-8.2713999999999996E-2</c:v>
                </c:pt>
                <c:pt idx="236">
                  <c:v>-0.19065399999999999</c:v>
                </c:pt>
                <c:pt idx="237">
                  <c:v>-0.19919999999999999</c:v>
                </c:pt>
                <c:pt idx="238">
                  <c:v>-0.18579899999999999</c:v>
                </c:pt>
                <c:pt idx="239">
                  <c:v>-0.16448099999999999</c:v>
                </c:pt>
                <c:pt idx="240">
                  <c:v>-0.163552</c:v>
                </c:pt>
                <c:pt idx="241">
                  <c:v>-8.7510000000000004E-2</c:v>
                </c:pt>
                <c:pt idx="242">
                  <c:v>-4.5301000000000001E-2</c:v>
                </c:pt>
                <c:pt idx="243">
                  <c:v>-0.147346</c:v>
                </c:pt>
                <c:pt idx="244">
                  <c:v>-0.147754</c:v>
                </c:pt>
                <c:pt idx="245">
                  <c:v>-0.133659</c:v>
                </c:pt>
                <c:pt idx="246">
                  <c:v>-0.154973</c:v>
                </c:pt>
                <c:pt idx="247">
                  <c:v>-0.185332</c:v>
                </c:pt>
                <c:pt idx="248">
                  <c:v>-0.14465900000000001</c:v>
                </c:pt>
                <c:pt idx="249">
                  <c:v>-0.105265</c:v>
                </c:pt>
                <c:pt idx="250">
                  <c:v>-0.19925100000000001</c:v>
                </c:pt>
                <c:pt idx="251">
                  <c:v>-0.172675</c:v>
                </c:pt>
                <c:pt idx="252">
                  <c:v>-0.168681</c:v>
                </c:pt>
                <c:pt idx="253">
                  <c:v>-0.154696</c:v>
                </c:pt>
                <c:pt idx="254">
                  <c:v>-0.16127900000000001</c:v>
                </c:pt>
                <c:pt idx="255">
                  <c:v>-0.11502</c:v>
                </c:pt>
                <c:pt idx="256">
                  <c:v>-5.4725999999999997E-2</c:v>
                </c:pt>
                <c:pt idx="257">
                  <c:v>-0.16453499999999999</c:v>
                </c:pt>
                <c:pt idx="258">
                  <c:v>-3.8578000000000001E-2</c:v>
                </c:pt>
                <c:pt idx="259">
                  <c:v>5.4855000000000001E-2</c:v>
                </c:pt>
                <c:pt idx="260">
                  <c:v>0.15814700000000001</c:v>
                </c:pt>
                <c:pt idx="261">
                  <c:v>0.185225</c:v>
                </c:pt>
                <c:pt idx="262">
                  <c:v>0.300037</c:v>
                </c:pt>
                <c:pt idx="263">
                  <c:v>0.31187599999999999</c:v>
                </c:pt>
                <c:pt idx="264">
                  <c:v>1.7318E-2</c:v>
                </c:pt>
                <c:pt idx="265">
                  <c:v>-4.1570000000000003E-2</c:v>
                </c:pt>
                <c:pt idx="266">
                  <c:v>-0.111053</c:v>
                </c:pt>
                <c:pt idx="267">
                  <c:v>-0.15547</c:v>
                </c:pt>
                <c:pt idx="268">
                  <c:v>-0.23238400000000001</c:v>
                </c:pt>
                <c:pt idx="269">
                  <c:v>-0.23213500000000001</c:v>
                </c:pt>
                <c:pt idx="270">
                  <c:v>-0.18563199999999999</c:v>
                </c:pt>
                <c:pt idx="271">
                  <c:v>-0.29133700000000001</c:v>
                </c:pt>
                <c:pt idx="272">
                  <c:v>-0.23741399999999999</c:v>
                </c:pt>
                <c:pt idx="273">
                  <c:v>-0.19645000000000001</c:v>
                </c:pt>
                <c:pt idx="274">
                  <c:v>-0.125052</c:v>
                </c:pt>
                <c:pt idx="275">
                  <c:v>-8.2663E-2</c:v>
                </c:pt>
                <c:pt idx="276">
                  <c:v>7.7679999999999999E-2</c:v>
                </c:pt>
                <c:pt idx="277">
                  <c:v>0.145867</c:v>
                </c:pt>
                <c:pt idx="278">
                  <c:v>-2.2074E-2</c:v>
                </c:pt>
                <c:pt idx="279">
                  <c:v>3.0724999999999999E-2</c:v>
                </c:pt>
                <c:pt idx="280">
                  <c:v>-1.5925999999999999E-2</c:v>
                </c:pt>
                <c:pt idx="281">
                  <c:v>-1.6524E-2</c:v>
                </c:pt>
                <c:pt idx="282">
                  <c:v>-0.10242</c:v>
                </c:pt>
                <c:pt idx="283">
                  <c:v>-3.7198000000000002E-2</c:v>
                </c:pt>
                <c:pt idx="284">
                  <c:v>-1.6671999999999999E-2</c:v>
                </c:pt>
                <c:pt idx="285">
                  <c:v>-0.16018199999999999</c:v>
                </c:pt>
                <c:pt idx="286">
                  <c:v>-0.126697</c:v>
                </c:pt>
                <c:pt idx="287">
                  <c:v>-0.12642500000000001</c:v>
                </c:pt>
                <c:pt idx="288">
                  <c:v>-9.7673999999999997E-2</c:v>
                </c:pt>
                <c:pt idx="289">
                  <c:v>-6.1987E-2</c:v>
                </c:pt>
                <c:pt idx="290">
                  <c:v>7.5103000000000003E-2</c:v>
                </c:pt>
                <c:pt idx="291">
                  <c:v>0.119695</c:v>
                </c:pt>
                <c:pt idx="292">
                  <c:v>-4.437E-2</c:v>
                </c:pt>
                <c:pt idx="293">
                  <c:v>-3.8259000000000001E-2</c:v>
                </c:pt>
                <c:pt idx="294">
                  <c:v>-8.8266999999999998E-2</c:v>
                </c:pt>
                <c:pt idx="295">
                  <c:v>-0.116358</c:v>
                </c:pt>
                <c:pt idx="296">
                  <c:v>-0.18327399999999999</c:v>
                </c:pt>
                <c:pt idx="297">
                  <c:v>-0.16925899999999999</c:v>
                </c:pt>
                <c:pt idx="298">
                  <c:v>-8.9373999999999995E-2</c:v>
                </c:pt>
                <c:pt idx="299">
                  <c:v>-0.19187299999999999</c:v>
                </c:pt>
                <c:pt idx="300">
                  <c:v>-0.15010000000000001</c:v>
                </c:pt>
                <c:pt idx="301">
                  <c:v>-3.9412999999999997E-2</c:v>
                </c:pt>
                <c:pt idx="302">
                  <c:v>4.2095E-2</c:v>
                </c:pt>
                <c:pt idx="303">
                  <c:v>0.14412900000000001</c:v>
                </c:pt>
                <c:pt idx="304">
                  <c:v>0.34656599999999999</c:v>
                </c:pt>
                <c:pt idx="305">
                  <c:v>0.470084</c:v>
                </c:pt>
                <c:pt idx="306">
                  <c:v>0.31007699999999999</c:v>
                </c:pt>
                <c:pt idx="307">
                  <c:v>0.138317</c:v>
                </c:pt>
                <c:pt idx="308">
                  <c:v>-8.1045000000000006E-2</c:v>
                </c:pt>
                <c:pt idx="309">
                  <c:v>-0.231347</c:v>
                </c:pt>
                <c:pt idx="310">
                  <c:v>-0.35026200000000002</c:v>
                </c:pt>
                <c:pt idx="311">
                  <c:v>-0.41513600000000001</c:v>
                </c:pt>
                <c:pt idx="312">
                  <c:v>-0.43572300000000003</c:v>
                </c:pt>
                <c:pt idx="313">
                  <c:v>-0.44075900000000001</c:v>
                </c:pt>
                <c:pt idx="314">
                  <c:v>-0.32143899999999997</c:v>
                </c:pt>
                <c:pt idx="315">
                  <c:v>-0.17183999999999999</c:v>
                </c:pt>
                <c:pt idx="316">
                  <c:v>-0.11973200000000001</c:v>
                </c:pt>
                <c:pt idx="317">
                  <c:v>-4.7861000000000001E-2</c:v>
                </c:pt>
                <c:pt idx="318">
                  <c:v>0.11876100000000001</c:v>
                </c:pt>
                <c:pt idx="319">
                  <c:v>0.315388</c:v>
                </c:pt>
                <c:pt idx="320">
                  <c:v>0.18992700000000001</c:v>
                </c:pt>
                <c:pt idx="321">
                  <c:v>8.4816000000000003E-2</c:v>
                </c:pt>
                <c:pt idx="322">
                  <c:v>-1.1166000000000001E-2</c:v>
                </c:pt>
                <c:pt idx="323">
                  <c:v>-6.7155999999999993E-2</c:v>
                </c:pt>
                <c:pt idx="324">
                  <c:v>-0.11966300000000001</c:v>
                </c:pt>
                <c:pt idx="325">
                  <c:v>-9.9598999999999993E-2</c:v>
                </c:pt>
                <c:pt idx="326">
                  <c:v>-6.1051000000000001E-2</c:v>
                </c:pt>
                <c:pt idx="327">
                  <c:v>-0.116143</c:v>
                </c:pt>
                <c:pt idx="328">
                  <c:v>-0.111441</c:v>
                </c:pt>
                <c:pt idx="329">
                  <c:v>-8.7474999999999997E-2</c:v>
                </c:pt>
                <c:pt idx="330">
                  <c:v>-0.10523100000000001</c:v>
                </c:pt>
                <c:pt idx="331">
                  <c:v>-0.13234699999999999</c:v>
                </c:pt>
                <c:pt idx="332">
                  <c:v>-6.0664000000000003E-2</c:v>
                </c:pt>
                <c:pt idx="333">
                  <c:v>3.4026000000000001E-2</c:v>
                </c:pt>
                <c:pt idx="334">
                  <c:v>-4.0304E-2</c:v>
                </c:pt>
                <c:pt idx="335">
                  <c:v>-4.9563999999999997E-2</c:v>
                </c:pt>
                <c:pt idx="336">
                  <c:v>-4.1397000000000003E-2</c:v>
                </c:pt>
                <c:pt idx="337">
                  <c:v>-8.3843000000000001E-2</c:v>
                </c:pt>
                <c:pt idx="338">
                  <c:v>-0.123464</c:v>
                </c:pt>
                <c:pt idx="339">
                  <c:v>-8.6099999999999996E-2</c:v>
                </c:pt>
                <c:pt idx="340">
                  <c:v>-2.5928E-2</c:v>
                </c:pt>
                <c:pt idx="341">
                  <c:v>-7.5850000000000001E-2</c:v>
                </c:pt>
                <c:pt idx="342">
                  <c:v>-0.10198</c:v>
                </c:pt>
                <c:pt idx="343">
                  <c:v>-9.3768000000000004E-2</c:v>
                </c:pt>
                <c:pt idx="344">
                  <c:v>-0.111877</c:v>
                </c:pt>
                <c:pt idx="345">
                  <c:v>-0.156449</c:v>
                </c:pt>
                <c:pt idx="346">
                  <c:v>-0.116924</c:v>
                </c:pt>
                <c:pt idx="347">
                  <c:v>-5.3793000000000001E-2</c:v>
                </c:pt>
                <c:pt idx="348">
                  <c:v>-0.12539700000000001</c:v>
                </c:pt>
                <c:pt idx="349">
                  <c:v>-0.13194400000000001</c:v>
                </c:pt>
                <c:pt idx="350">
                  <c:v>-0.12629099999999999</c:v>
                </c:pt>
                <c:pt idx="351">
                  <c:v>-0.152309</c:v>
                </c:pt>
                <c:pt idx="352">
                  <c:v>-0.19688600000000001</c:v>
                </c:pt>
                <c:pt idx="353">
                  <c:v>-0.18329400000000001</c:v>
                </c:pt>
                <c:pt idx="354">
                  <c:v>-0.15351200000000001</c:v>
                </c:pt>
                <c:pt idx="355">
                  <c:v>-0.20091400000000001</c:v>
                </c:pt>
                <c:pt idx="356">
                  <c:v>-0.21406900000000001</c:v>
                </c:pt>
                <c:pt idx="357">
                  <c:v>-0.212066</c:v>
                </c:pt>
                <c:pt idx="358">
                  <c:v>-0.24190500000000001</c:v>
                </c:pt>
                <c:pt idx="359">
                  <c:v>-0.28736600000000001</c:v>
                </c:pt>
                <c:pt idx="360">
                  <c:v>-0.28545199999999998</c:v>
                </c:pt>
                <c:pt idx="361">
                  <c:v>-0.26613999999999999</c:v>
                </c:pt>
                <c:pt idx="362">
                  <c:v>-0.33318999999999999</c:v>
                </c:pt>
                <c:pt idx="363">
                  <c:v>-0.33131300000000002</c:v>
                </c:pt>
                <c:pt idx="364">
                  <c:v>-0.27246700000000001</c:v>
                </c:pt>
                <c:pt idx="365">
                  <c:v>-0.17469100000000001</c:v>
                </c:pt>
                <c:pt idx="366">
                  <c:v>-2.3931000000000001E-2</c:v>
                </c:pt>
                <c:pt idx="367">
                  <c:v>7.8933000000000003E-2</c:v>
                </c:pt>
                <c:pt idx="368">
                  <c:v>0.18856600000000001</c:v>
                </c:pt>
                <c:pt idx="369">
                  <c:v>0.113216</c:v>
                </c:pt>
                <c:pt idx="370">
                  <c:v>0.16681000000000001</c:v>
                </c:pt>
                <c:pt idx="371">
                  <c:v>8.7621000000000004E-2</c:v>
                </c:pt>
                <c:pt idx="372">
                  <c:v>-0.13201399999999999</c:v>
                </c:pt>
                <c:pt idx="373">
                  <c:v>-0.241065</c:v>
                </c:pt>
                <c:pt idx="374">
                  <c:v>-0.176704</c:v>
                </c:pt>
                <c:pt idx="375">
                  <c:v>-0.14430999999999999</c:v>
                </c:pt>
                <c:pt idx="376">
                  <c:v>-0.26388800000000001</c:v>
                </c:pt>
                <c:pt idx="377">
                  <c:v>-0.391652</c:v>
                </c:pt>
                <c:pt idx="378">
                  <c:v>-0.44141200000000003</c:v>
                </c:pt>
                <c:pt idx="379">
                  <c:v>-0.41408099999999998</c:v>
                </c:pt>
                <c:pt idx="380">
                  <c:v>-0.34337299999999998</c:v>
                </c:pt>
                <c:pt idx="381">
                  <c:v>-0.323716</c:v>
                </c:pt>
                <c:pt idx="382">
                  <c:v>-0.29632900000000001</c:v>
                </c:pt>
                <c:pt idx="383">
                  <c:v>-0.33968100000000001</c:v>
                </c:pt>
                <c:pt idx="384">
                  <c:v>-0.24520900000000001</c:v>
                </c:pt>
                <c:pt idx="385">
                  <c:v>-0.15448000000000001</c:v>
                </c:pt>
                <c:pt idx="386">
                  <c:v>-0.12623300000000001</c:v>
                </c:pt>
                <c:pt idx="387">
                  <c:v>-8.9437000000000003E-2</c:v>
                </c:pt>
                <c:pt idx="388">
                  <c:v>1.9016999999999999E-2</c:v>
                </c:pt>
                <c:pt idx="389">
                  <c:v>9.0594999999999995E-2</c:v>
                </c:pt>
                <c:pt idx="390">
                  <c:v>-1.0253999999999999E-2</c:v>
                </c:pt>
                <c:pt idx="391">
                  <c:v>-2.3118E-2</c:v>
                </c:pt>
                <c:pt idx="392">
                  <c:v>-9.4107999999999997E-2</c:v>
                </c:pt>
                <c:pt idx="393">
                  <c:v>-0.16400000000000001</c:v>
                </c:pt>
                <c:pt idx="394">
                  <c:v>-0.22597900000000001</c:v>
                </c:pt>
                <c:pt idx="395">
                  <c:v>-0.22131300000000001</c:v>
                </c:pt>
                <c:pt idx="396">
                  <c:v>-0.20751700000000001</c:v>
                </c:pt>
                <c:pt idx="397">
                  <c:v>-0.27477400000000002</c:v>
                </c:pt>
                <c:pt idx="398">
                  <c:v>-0.249359</c:v>
                </c:pt>
                <c:pt idx="399">
                  <c:v>-0.195495</c:v>
                </c:pt>
                <c:pt idx="400">
                  <c:v>-0.20383299999999999</c:v>
                </c:pt>
                <c:pt idx="401">
                  <c:v>-0.21458199999999999</c:v>
                </c:pt>
                <c:pt idx="402">
                  <c:v>-0.11930399999999999</c:v>
                </c:pt>
                <c:pt idx="403">
                  <c:v>-4.9644000000000001E-2</c:v>
                </c:pt>
                <c:pt idx="404">
                  <c:v>-0.129218</c:v>
                </c:pt>
                <c:pt idx="405">
                  <c:v>-0.1222</c:v>
                </c:pt>
                <c:pt idx="406">
                  <c:v>-0.151866</c:v>
                </c:pt>
                <c:pt idx="407">
                  <c:v>-0.115665</c:v>
                </c:pt>
                <c:pt idx="408">
                  <c:v>-7.5719999999999996E-2</c:v>
                </c:pt>
                <c:pt idx="409">
                  <c:v>3.4666000000000002E-2</c:v>
                </c:pt>
                <c:pt idx="410">
                  <c:v>9.5715999999999996E-2</c:v>
                </c:pt>
                <c:pt idx="411">
                  <c:v>1.9925999999999999E-2</c:v>
                </c:pt>
                <c:pt idx="412">
                  <c:v>3.6912E-2</c:v>
                </c:pt>
                <c:pt idx="413">
                  <c:v>3.4535000000000003E-2</c:v>
                </c:pt>
                <c:pt idx="414">
                  <c:v>1.4164E-2</c:v>
                </c:pt>
                <c:pt idx="415">
                  <c:v>4.0584000000000002E-2</c:v>
                </c:pt>
                <c:pt idx="416">
                  <c:v>0.17055699999999999</c:v>
                </c:pt>
                <c:pt idx="417">
                  <c:v>0.27522200000000002</c:v>
                </c:pt>
                <c:pt idx="418">
                  <c:v>0.18385499999999999</c:v>
                </c:pt>
                <c:pt idx="419">
                  <c:v>0.17680499999999999</c:v>
                </c:pt>
                <c:pt idx="420">
                  <c:v>0.25295000000000001</c:v>
                </c:pt>
                <c:pt idx="421">
                  <c:v>0.32805299999999998</c:v>
                </c:pt>
                <c:pt idx="422">
                  <c:v>0.24099699999999999</c:v>
                </c:pt>
                <c:pt idx="423">
                  <c:v>0.249311</c:v>
                </c:pt>
                <c:pt idx="424">
                  <c:v>0.28519299999999997</c:v>
                </c:pt>
                <c:pt idx="425">
                  <c:v>0.16959299999999999</c:v>
                </c:pt>
                <c:pt idx="426">
                  <c:v>0.115605</c:v>
                </c:pt>
                <c:pt idx="427">
                  <c:v>9.6450000000000008E-3</c:v>
                </c:pt>
                <c:pt idx="428">
                  <c:v>-7.5704999999999995E-2</c:v>
                </c:pt>
                <c:pt idx="429">
                  <c:v>-7.9749E-2</c:v>
                </c:pt>
                <c:pt idx="430">
                  <c:v>-4.3746E-2</c:v>
                </c:pt>
                <c:pt idx="431">
                  <c:v>-3.7055999999999999E-2</c:v>
                </c:pt>
                <c:pt idx="432">
                  <c:v>-0.17296400000000001</c:v>
                </c:pt>
                <c:pt idx="433">
                  <c:v>-0.24957799999999999</c:v>
                </c:pt>
                <c:pt idx="434">
                  <c:v>-0.188472</c:v>
                </c:pt>
                <c:pt idx="435">
                  <c:v>-8.3156999999999995E-2</c:v>
                </c:pt>
                <c:pt idx="436">
                  <c:v>-4.7808000000000003E-2</c:v>
                </c:pt>
                <c:pt idx="437">
                  <c:v>4.1585999999999998E-2</c:v>
                </c:pt>
                <c:pt idx="438">
                  <c:v>0.134381</c:v>
                </c:pt>
                <c:pt idx="439">
                  <c:v>8.3666000000000004E-2</c:v>
                </c:pt>
                <c:pt idx="440">
                  <c:v>0.114881</c:v>
                </c:pt>
                <c:pt idx="441">
                  <c:v>0.17335600000000001</c:v>
                </c:pt>
                <c:pt idx="442">
                  <c:v>0.104154</c:v>
                </c:pt>
                <c:pt idx="443">
                  <c:v>2.7921000000000001E-2</c:v>
                </c:pt>
                <c:pt idx="444">
                  <c:v>8.2764000000000004E-2</c:v>
                </c:pt>
                <c:pt idx="445">
                  <c:v>0.148342</c:v>
                </c:pt>
                <c:pt idx="446">
                  <c:v>4.4326999999999998E-2</c:v>
                </c:pt>
                <c:pt idx="447">
                  <c:v>-2.7625E-2</c:v>
                </c:pt>
                <c:pt idx="448">
                  <c:v>5.0130000000000001E-3</c:v>
                </c:pt>
                <c:pt idx="449">
                  <c:v>8.3670999999999995E-2</c:v>
                </c:pt>
                <c:pt idx="450">
                  <c:v>9.6852999999999995E-2</c:v>
                </c:pt>
                <c:pt idx="451">
                  <c:v>0.12815399999999999</c:v>
                </c:pt>
                <c:pt idx="452">
                  <c:v>0.16689899999999999</c:v>
                </c:pt>
                <c:pt idx="453">
                  <c:v>8.7832999999999994E-2</c:v>
                </c:pt>
                <c:pt idx="454">
                  <c:v>3.3960999999999998E-2</c:v>
                </c:pt>
                <c:pt idx="455">
                  <c:v>3.9406999999999998E-2</c:v>
                </c:pt>
                <c:pt idx="456">
                  <c:v>-2.5177999999999999E-2</c:v>
                </c:pt>
                <c:pt idx="457">
                  <c:v>-7.6000999999999999E-2</c:v>
                </c:pt>
                <c:pt idx="458">
                  <c:v>-5.2020999999999998E-2</c:v>
                </c:pt>
                <c:pt idx="459">
                  <c:v>-3.2613999999999997E-2</c:v>
                </c:pt>
                <c:pt idx="460">
                  <c:v>-0.118691</c:v>
                </c:pt>
                <c:pt idx="461">
                  <c:v>-0.16176199999999999</c:v>
                </c:pt>
                <c:pt idx="462">
                  <c:v>-0.17055100000000001</c:v>
                </c:pt>
                <c:pt idx="463">
                  <c:v>-0.18654899999999999</c:v>
                </c:pt>
                <c:pt idx="464">
                  <c:v>-0.20402500000000001</c:v>
                </c:pt>
                <c:pt idx="465">
                  <c:v>-0.19021399999999999</c:v>
                </c:pt>
                <c:pt idx="466">
                  <c:v>-0.16117699999999999</c:v>
                </c:pt>
                <c:pt idx="467">
                  <c:v>-0.22139700000000001</c:v>
                </c:pt>
                <c:pt idx="468">
                  <c:v>-0.24589</c:v>
                </c:pt>
                <c:pt idx="469">
                  <c:v>-0.229106</c:v>
                </c:pt>
                <c:pt idx="470">
                  <c:v>-0.233908</c:v>
                </c:pt>
                <c:pt idx="471">
                  <c:v>-0.23145199999999999</c:v>
                </c:pt>
                <c:pt idx="472">
                  <c:v>-0.20232</c:v>
                </c:pt>
                <c:pt idx="473">
                  <c:v>-0.16509299999999999</c:v>
                </c:pt>
                <c:pt idx="474">
                  <c:v>-0.22092100000000001</c:v>
                </c:pt>
                <c:pt idx="475">
                  <c:v>-0.247502</c:v>
                </c:pt>
                <c:pt idx="476">
                  <c:v>-0.23535500000000001</c:v>
                </c:pt>
                <c:pt idx="477">
                  <c:v>-0.216749</c:v>
                </c:pt>
                <c:pt idx="478">
                  <c:v>-0.18407000000000001</c:v>
                </c:pt>
                <c:pt idx="479">
                  <c:v>-0.230513</c:v>
                </c:pt>
                <c:pt idx="480">
                  <c:v>-0.25135200000000002</c:v>
                </c:pt>
                <c:pt idx="481">
                  <c:v>-0.32652199999999998</c:v>
                </c:pt>
                <c:pt idx="482">
                  <c:v>-0.35721399999999998</c:v>
                </c:pt>
                <c:pt idx="483">
                  <c:v>-0.37839899999999999</c:v>
                </c:pt>
                <c:pt idx="484">
                  <c:v>-0.45592500000000002</c:v>
                </c:pt>
                <c:pt idx="485">
                  <c:v>-0.49259799999999998</c:v>
                </c:pt>
                <c:pt idx="486">
                  <c:v>-0.38559399999999999</c:v>
                </c:pt>
                <c:pt idx="487">
                  <c:v>-0.35447899999999999</c:v>
                </c:pt>
                <c:pt idx="488">
                  <c:v>-0.39657500000000001</c:v>
                </c:pt>
                <c:pt idx="489">
                  <c:v>-0.33480399999999999</c:v>
                </c:pt>
                <c:pt idx="490">
                  <c:v>-0.23626800000000001</c:v>
                </c:pt>
                <c:pt idx="491">
                  <c:v>-0.12148399999999999</c:v>
                </c:pt>
                <c:pt idx="492">
                  <c:v>0.102772</c:v>
                </c:pt>
                <c:pt idx="493">
                  <c:v>0.26879700000000001</c:v>
                </c:pt>
                <c:pt idx="494">
                  <c:v>0.35365799999999997</c:v>
                </c:pt>
                <c:pt idx="495">
                  <c:v>0.155391</c:v>
                </c:pt>
                <c:pt idx="496">
                  <c:v>9.8765000000000006E-2</c:v>
                </c:pt>
                <c:pt idx="497">
                  <c:v>0.13617000000000001</c:v>
                </c:pt>
                <c:pt idx="498">
                  <c:v>0.127196</c:v>
                </c:pt>
                <c:pt idx="499">
                  <c:v>7.6696E-2</c:v>
                </c:pt>
                <c:pt idx="500">
                  <c:v>9.7381999999999996E-2</c:v>
                </c:pt>
                <c:pt idx="501">
                  <c:v>0.10795299999999999</c:v>
                </c:pt>
                <c:pt idx="502">
                  <c:v>5.4660000000000004E-3</c:v>
                </c:pt>
                <c:pt idx="503">
                  <c:v>3.9641000000000003E-2</c:v>
                </c:pt>
                <c:pt idx="504">
                  <c:v>0.12264600000000001</c:v>
                </c:pt>
                <c:pt idx="505">
                  <c:v>0.162107</c:v>
                </c:pt>
                <c:pt idx="506">
                  <c:v>0.17746600000000001</c:v>
                </c:pt>
                <c:pt idx="507">
                  <c:v>0.27975800000000001</c:v>
                </c:pt>
                <c:pt idx="508">
                  <c:v>0.34821200000000002</c:v>
                </c:pt>
                <c:pt idx="509">
                  <c:v>0.21426200000000001</c:v>
                </c:pt>
                <c:pt idx="510">
                  <c:v>0.183284</c:v>
                </c:pt>
                <c:pt idx="511">
                  <c:v>0.196936</c:v>
                </c:pt>
                <c:pt idx="512">
                  <c:v>0.187142</c:v>
                </c:pt>
                <c:pt idx="513">
                  <c:v>0.142766</c:v>
                </c:pt>
                <c:pt idx="514">
                  <c:v>0.18004000000000001</c:v>
                </c:pt>
                <c:pt idx="515">
                  <c:v>0.21909100000000001</c:v>
                </c:pt>
                <c:pt idx="516">
                  <c:v>0.100707</c:v>
                </c:pt>
                <c:pt idx="517">
                  <c:v>2.7798E-2</c:v>
                </c:pt>
                <c:pt idx="518">
                  <c:v>-2.8279999999999998E-3</c:v>
                </c:pt>
                <c:pt idx="519">
                  <c:v>-5.1707999999999997E-2</c:v>
                </c:pt>
                <c:pt idx="520">
                  <c:v>-0.105962</c:v>
                </c:pt>
                <c:pt idx="521">
                  <c:v>-0.12471500000000001</c:v>
                </c:pt>
                <c:pt idx="522">
                  <c:v>-0.13522600000000001</c:v>
                </c:pt>
                <c:pt idx="523">
                  <c:v>-0.21642700000000001</c:v>
                </c:pt>
                <c:pt idx="524">
                  <c:v>-0.26058799999999999</c:v>
                </c:pt>
                <c:pt idx="525">
                  <c:v>-0.29484399999999999</c:v>
                </c:pt>
                <c:pt idx="526">
                  <c:v>-0.334034</c:v>
                </c:pt>
                <c:pt idx="527">
                  <c:v>-0.37162200000000001</c:v>
                </c:pt>
                <c:pt idx="528">
                  <c:v>-0.35653499999999999</c:v>
                </c:pt>
                <c:pt idx="529">
                  <c:v>-0.33938200000000002</c:v>
                </c:pt>
                <c:pt idx="530">
                  <c:v>-0.38299899999999998</c:v>
                </c:pt>
                <c:pt idx="531">
                  <c:v>-0.40795399999999998</c:v>
                </c:pt>
                <c:pt idx="532">
                  <c:v>-0.39393499999999998</c:v>
                </c:pt>
                <c:pt idx="533">
                  <c:v>-0.39054800000000001</c:v>
                </c:pt>
                <c:pt idx="534">
                  <c:v>-0.3831</c:v>
                </c:pt>
                <c:pt idx="535">
                  <c:v>-0.35133999999999999</c:v>
                </c:pt>
                <c:pt idx="536">
                  <c:v>-0.32142599999999999</c:v>
                </c:pt>
                <c:pt idx="537">
                  <c:v>-0.374801</c:v>
                </c:pt>
                <c:pt idx="538">
                  <c:v>-0.40639500000000001</c:v>
                </c:pt>
                <c:pt idx="539">
                  <c:v>-0.42038599999999998</c:v>
                </c:pt>
                <c:pt idx="540">
                  <c:v>-0.42995499999999998</c:v>
                </c:pt>
                <c:pt idx="541">
                  <c:v>-0.43826500000000002</c:v>
                </c:pt>
                <c:pt idx="542">
                  <c:v>-0.41958000000000001</c:v>
                </c:pt>
                <c:pt idx="543">
                  <c:v>-0.409526</c:v>
                </c:pt>
                <c:pt idx="544">
                  <c:v>-0.445658</c:v>
                </c:pt>
                <c:pt idx="545">
                  <c:v>-0.41971199999999997</c:v>
                </c:pt>
                <c:pt idx="546">
                  <c:v>-0.37323200000000001</c:v>
                </c:pt>
                <c:pt idx="547">
                  <c:v>-0.36308400000000002</c:v>
                </c:pt>
                <c:pt idx="548">
                  <c:v>-0.35105799999999998</c:v>
                </c:pt>
                <c:pt idx="549">
                  <c:v>-0.29883999999999999</c:v>
                </c:pt>
                <c:pt idx="550">
                  <c:v>-0.27172400000000002</c:v>
                </c:pt>
                <c:pt idx="551">
                  <c:v>-0.376327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C8-4E7B-83D3-5242563E84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Novych_JIP_7dni_100_000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53</c:f>
              <c:numCache>
                <c:formatCode>m/d/yyyy</c:formatCode>
                <c:ptCount val="55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</c:numCache>
            </c:numRef>
          </c:cat>
          <c:val>
            <c:numRef>
              <c:f>Sheet1!$B$2:$B$553</c:f>
              <c:numCache>
                <c:formatCode>0%</c:formatCode>
                <c:ptCount val="552"/>
                <c:pt idx="0">
                  <c:v>0.37036999999999998</c:v>
                </c:pt>
                <c:pt idx="1">
                  <c:v>0.36666599999999999</c:v>
                </c:pt>
                <c:pt idx="2">
                  <c:v>0.228571</c:v>
                </c:pt>
                <c:pt idx="3">
                  <c:v>0.38235200000000003</c:v>
                </c:pt>
                <c:pt idx="4">
                  <c:v>0.24324299999999999</c:v>
                </c:pt>
                <c:pt idx="5">
                  <c:v>0.222222</c:v>
                </c:pt>
                <c:pt idx="6">
                  <c:v>0.230769</c:v>
                </c:pt>
                <c:pt idx="7">
                  <c:v>8.8887999999999995E-2</c:v>
                </c:pt>
                <c:pt idx="8">
                  <c:v>6.25E-2</c:v>
                </c:pt>
                <c:pt idx="9">
                  <c:v>-9.4339000000000006E-2</c:v>
                </c:pt>
                <c:pt idx="10">
                  <c:v>-3.9215E-2</c:v>
                </c:pt>
                <c:pt idx="11">
                  <c:v>0</c:v>
                </c:pt>
                <c:pt idx="12">
                  <c:v>7.8431000000000001E-2</c:v>
                </c:pt>
                <c:pt idx="13">
                  <c:v>1.7857000000000001E-2</c:v>
                </c:pt>
                <c:pt idx="14">
                  <c:v>0.10169400000000001</c:v>
                </c:pt>
                <c:pt idx="15">
                  <c:v>0.163636</c:v>
                </c:pt>
                <c:pt idx="16">
                  <c:v>0.27118599999999998</c:v>
                </c:pt>
                <c:pt idx="17">
                  <c:v>0.63636300000000001</c:v>
                </c:pt>
                <c:pt idx="18">
                  <c:v>0.816666</c:v>
                </c:pt>
                <c:pt idx="19">
                  <c:v>0.828125</c:v>
                </c:pt>
                <c:pt idx="20">
                  <c:v>0.94520499999999996</c:v>
                </c:pt>
                <c:pt idx="21">
                  <c:v>1.0135130000000001</c:v>
                </c:pt>
                <c:pt idx="22">
                  <c:v>1.063291</c:v>
                </c:pt>
                <c:pt idx="23">
                  <c:v>0.76237600000000005</c:v>
                </c:pt>
                <c:pt idx="24">
                  <c:v>0.53043399999999996</c:v>
                </c:pt>
                <c:pt idx="25">
                  <c:v>0.40476099999999998</c:v>
                </c:pt>
                <c:pt idx="26">
                  <c:v>0.23841000000000001</c:v>
                </c:pt>
                <c:pt idx="27">
                  <c:v>0.18787799999999999</c:v>
                </c:pt>
                <c:pt idx="28">
                  <c:v>0.168604</c:v>
                </c:pt>
                <c:pt idx="29">
                  <c:v>9.8445000000000005E-2</c:v>
                </c:pt>
                <c:pt idx="30">
                  <c:v>0.12871199999999999</c:v>
                </c:pt>
                <c:pt idx="31">
                  <c:v>0.20297000000000001</c:v>
                </c:pt>
                <c:pt idx="32">
                  <c:v>0.32843099999999997</c:v>
                </c:pt>
                <c:pt idx="33">
                  <c:v>0.24782599999999999</c:v>
                </c:pt>
                <c:pt idx="34">
                  <c:v>0.32589200000000002</c:v>
                </c:pt>
                <c:pt idx="35">
                  <c:v>0.44680799999999998</c:v>
                </c:pt>
                <c:pt idx="36">
                  <c:v>0.46123999999999998</c:v>
                </c:pt>
                <c:pt idx="37">
                  <c:v>0.47939999999999999</c:v>
                </c:pt>
                <c:pt idx="38">
                  <c:v>0.47474699999999997</c:v>
                </c:pt>
                <c:pt idx="39">
                  <c:v>0.49681500000000001</c:v>
                </c:pt>
                <c:pt idx="40">
                  <c:v>0.41176400000000002</c:v>
                </c:pt>
                <c:pt idx="41">
                  <c:v>0.39673900000000001</c:v>
                </c:pt>
                <c:pt idx="42">
                  <c:v>0.28223799999999999</c:v>
                </c:pt>
                <c:pt idx="43">
                  <c:v>0.25169999999999998</c:v>
                </c:pt>
                <c:pt idx="44">
                  <c:v>0.22012499999999999</c:v>
                </c:pt>
                <c:pt idx="45">
                  <c:v>0.162213</c:v>
                </c:pt>
                <c:pt idx="46">
                  <c:v>0.14149100000000001</c:v>
                </c:pt>
                <c:pt idx="47">
                  <c:v>0.12698400000000001</c:v>
                </c:pt>
                <c:pt idx="48">
                  <c:v>0.102006</c:v>
                </c:pt>
                <c:pt idx="49">
                  <c:v>0.136436</c:v>
                </c:pt>
                <c:pt idx="50">
                  <c:v>0.18885399999999999</c:v>
                </c:pt>
                <c:pt idx="51">
                  <c:v>0.18958</c:v>
                </c:pt>
                <c:pt idx="52">
                  <c:v>0.24304500000000001</c:v>
                </c:pt>
                <c:pt idx="53">
                  <c:v>0.30924800000000002</c:v>
                </c:pt>
                <c:pt idx="54">
                  <c:v>0.272117</c:v>
                </c:pt>
                <c:pt idx="55">
                  <c:v>0.31060599999999999</c:v>
                </c:pt>
                <c:pt idx="56">
                  <c:v>0.23148099999999999</c:v>
                </c:pt>
                <c:pt idx="57">
                  <c:v>0.14410400000000001</c:v>
                </c:pt>
                <c:pt idx="58">
                  <c:v>0.150313</c:v>
                </c:pt>
                <c:pt idx="59">
                  <c:v>0.144897</c:v>
                </c:pt>
                <c:pt idx="60">
                  <c:v>0.113026</c:v>
                </c:pt>
                <c:pt idx="61">
                  <c:v>1.4847000000000001E-2</c:v>
                </c:pt>
                <c:pt idx="62">
                  <c:v>-4.0099999999999997E-2</c:v>
                </c:pt>
                <c:pt idx="63">
                  <c:v>-3.3222000000000002E-2</c:v>
                </c:pt>
                <c:pt idx="64">
                  <c:v>-5.5198999999999998E-2</c:v>
                </c:pt>
                <c:pt idx="65">
                  <c:v>-9.2208999999999999E-2</c:v>
                </c:pt>
                <c:pt idx="66">
                  <c:v>-9.5901E-2</c:v>
                </c:pt>
                <c:pt idx="67">
                  <c:v>-0.14461499999999999</c:v>
                </c:pt>
                <c:pt idx="68">
                  <c:v>-0.18736</c:v>
                </c:pt>
                <c:pt idx="69">
                  <c:v>-0.209372</c:v>
                </c:pt>
                <c:pt idx="70">
                  <c:v>-0.22861400000000001</c:v>
                </c:pt>
                <c:pt idx="71">
                  <c:v>-0.27083299999999999</c:v>
                </c:pt>
                <c:pt idx="72">
                  <c:v>-0.28000000000000003</c:v>
                </c:pt>
                <c:pt idx="73">
                  <c:v>-0.29929800000000001</c:v>
                </c:pt>
                <c:pt idx="74">
                  <c:v>-0.28432099999999999</c:v>
                </c:pt>
                <c:pt idx="75">
                  <c:v>-0.32058500000000001</c:v>
                </c:pt>
                <c:pt idx="76">
                  <c:v>-0.31517099999999998</c:v>
                </c:pt>
                <c:pt idx="77">
                  <c:v>-0.32805600000000001</c:v>
                </c:pt>
                <c:pt idx="78">
                  <c:v>-0.32229099999999999</c:v>
                </c:pt>
                <c:pt idx="79">
                  <c:v>-0.32439899999999999</c:v>
                </c:pt>
                <c:pt idx="80">
                  <c:v>-0.28140700000000002</c:v>
                </c:pt>
                <c:pt idx="81">
                  <c:v>-0.24737899999999999</c:v>
                </c:pt>
                <c:pt idx="82">
                  <c:v>-0.230849</c:v>
                </c:pt>
                <c:pt idx="83">
                  <c:v>-0.21734300000000001</c:v>
                </c:pt>
                <c:pt idx="84">
                  <c:v>-0.19885700000000001</c:v>
                </c:pt>
                <c:pt idx="85">
                  <c:v>-0.21774099999999999</c:v>
                </c:pt>
                <c:pt idx="86">
                  <c:v>-0.22894400000000001</c:v>
                </c:pt>
                <c:pt idx="87">
                  <c:v>-0.240786</c:v>
                </c:pt>
                <c:pt idx="88">
                  <c:v>-0.24937899999999999</c:v>
                </c:pt>
                <c:pt idx="89">
                  <c:v>-0.30926500000000001</c:v>
                </c:pt>
                <c:pt idx="90">
                  <c:v>-0.295597</c:v>
                </c:pt>
                <c:pt idx="91">
                  <c:v>-0.32025300000000001</c:v>
                </c:pt>
                <c:pt idx="92">
                  <c:v>-0.28909299999999999</c:v>
                </c:pt>
                <c:pt idx="93">
                  <c:v>-0.243835</c:v>
                </c:pt>
                <c:pt idx="94">
                  <c:v>-0.21590899999999999</c:v>
                </c:pt>
                <c:pt idx="95">
                  <c:v>-0.20845900000000001</c:v>
                </c:pt>
                <c:pt idx="96">
                  <c:v>-0.18540999999999999</c:v>
                </c:pt>
                <c:pt idx="97">
                  <c:v>-9.2083999999999999E-2</c:v>
                </c:pt>
                <c:pt idx="98">
                  <c:v>-8.0951999999999996E-2</c:v>
                </c:pt>
                <c:pt idx="99">
                  <c:v>-0.102523</c:v>
                </c:pt>
                <c:pt idx="100">
                  <c:v>-7.9113000000000003E-2</c:v>
                </c:pt>
                <c:pt idx="101">
                  <c:v>-3.6065E-2</c:v>
                </c:pt>
                <c:pt idx="102">
                  <c:v>4.3844000000000001E-2</c:v>
                </c:pt>
                <c:pt idx="103">
                  <c:v>-3.2507000000000001E-2</c:v>
                </c:pt>
                <c:pt idx="104">
                  <c:v>-5.4857999999999997E-2</c:v>
                </c:pt>
                <c:pt idx="105">
                  <c:v>-7.0996000000000004E-2</c:v>
                </c:pt>
                <c:pt idx="106">
                  <c:v>-5.1851000000000001E-2</c:v>
                </c:pt>
                <c:pt idx="107">
                  <c:v>-5.9880000000000003E-2</c:v>
                </c:pt>
                <c:pt idx="108">
                  <c:v>-5.6128999999999998E-2</c:v>
                </c:pt>
                <c:pt idx="109">
                  <c:v>-8.5014000000000006E-2</c:v>
                </c:pt>
                <c:pt idx="110">
                  <c:v>-9.9579000000000001E-2</c:v>
                </c:pt>
                <c:pt idx="111">
                  <c:v>-6.5123E-2</c:v>
                </c:pt>
                <c:pt idx="112">
                  <c:v>-6.9155999999999995E-2</c:v>
                </c:pt>
                <c:pt idx="113">
                  <c:v>-8.9917999999999998E-2</c:v>
                </c:pt>
                <c:pt idx="114">
                  <c:v>-7.7241000000000004E-2</c:v>
                </c:pt>
                <c:pt idx="115">
                  <c:v>-6.6297999999999996E-2</c:v>
                </c:pt>
                <c:pt idx="116">
                  <c:v>-2.2315000000000002E-2</c:v>
                </c:pt>
                <c:pt idx="117">
                  <c:v>-8.1740000000000007E-3</c:v>
                </c:pt>
                <c:pt idx="118">
                  <c:v>1.5768000000000001E-2</c:v>
                </c:pt>
                <c:pt idx="119">
                  <c:v>5.5412000000000003E-2</c:v>
                </c:pt>
                <c:pt idx="120">
                  <c:v>0.116644</c:v>
                </c:pt>
                <c:pt idx="121">
                  <c:v>0.19146099999999999</c:v>
                </c:pt>
                <c:pt idx="122">
                  <c:v>0.18956700000000001</c:v>
                </c:pt>
                <c:pt idx="123">
                  <c:v>0.14197499999999999</c:v>
                </c:pt>
                <c:pt idx="124">
                  <c:v>0.107514</c:v>
                </c:pt>
                <c:pt idx="125">
                  <c:v>5.6744999999999997E-2</c:v>
                </c:pt>
                <c:pt idx="126">
                  <c:v>3.1413000000000003E-2</c:v>
                </c:pt>
                <c:pt idx="127">
                  <c:v>-4.921E-3</c:v>
                </c:pt>
                <c:pt idx="128">
                  <c:v>-5.101E-2</c:v>
                </c:pt>
                <c:pt idx="129">
                  <c:v>-1.4492E-2</c:v>
                </c:pt>
                <c:pt idx="130">
                  <c:v>-8.4340000000000005E-3</c:v>
                </c:pt>
                <c:pt idx="131">
                  <c:v>-6.2276999999999999E-2</c:v>
                </c:pt>
                <c:pt idx="132">
                  <c:v>-9.4240000000000004E-2</c:v>
                </c:pt>
                <c:pt idx="133">
                  <c:v>-9.2413999999999996E-2</c:v>
                </c:pt>
                <c:pt idx="134">
                  <c:v>-0.116521</c:v>
                </c:pt>
                <c:pt idx="135">
                  <c:v>-9.2267000000000002E-2</c:v>
                </c:pt>
                <c:pt idx="136">
                  <c:v>-0.112262</c:v>
                </c:pt>
                <c:pt idx="137">
                  <c:v>-0.151337</c:v>
                </c:pt>
                <c:pt idx="138">
                  <c:v>-0.191029</c:v>
                </c:pt>
                <c:pt idx="139">
                  <c:v>-0.191666</c:v>
                </c:pt>
                <c:pt idx="140">
                  <c:v>-0.19609499999999999</c:v>
                </c:pt>
                <c:pt idx="141">
                  <c:v>-0.20392399999999999</c:v>
                </c:pt>
                <c:pt idx="142">
                  <c:v>-0.23389799999999999</c:v>
                </c:pt>
                <c:pt idx="143">
                  <c:v>-0.21856</c:v>
                </c:pt>
                <c:pt idx="144">
                  <c:v>-0.209532</c:v>
                </c:pt>
                <c:pt idx="145">
                  <c:v>-0.224107</c:v>
                </c:pt>
                <c:pt idx="146">
                  <c:v>-0.22903499999999999</c:v>
                </c:pt>
                <c:pt idx="147">
                  <c:v>-0.218691</c:v>
                </c:pt>
                <c:pt idx="148">
                  <c:v>-0.223584</c:v>
                </c:pt>
                <c:pt idx="149">
                  <c:v>-0.21564800000000001</c:v>
                </c:pt>
                <c:pt idx="150">
                  <c:v>-0.186254</c:v>
                </c:pt>
                <c:pt idx="151">
                  <c:v>-0.13664499999999999</c:v>
                </c:pt>
                <c:pt idx="152">
                  <c:v>-0.15484500000000001</c:v>
                </c:pt>
                <c:pt idx="153">
                  <c:v>-0.137435</c:v>
                </c:pt>
                <c:pt idx="154">
                  <c:v>-8.3509E-2</c:v>
                </c:pt>
                <c:pt idx="155">
                  <c:v>-7.3760999999999993E-2</c:v>
                </c:pt>
                <c:pt idx="156">
                  <c:v>-6.7637000000000003E-2</c:v>
                </c:pt>
                <c:pt idx="157">
                  <c:v>-6.0831999999999997E-2</c:v>
                </c:pt>
                <c:pt idx="158">
                  <c:v>-4.1799999999999997E-2</c:v>
                </c:pt>
                <c:pt idx="159">
                  <c:v>-4.6247999999999997E-2</c:v>
                </c:pt>
                <c:pt idx="160">
                  <c:v>-4.5592000000000001E-2</c:v>
                </c:pt>
                <c:pt idx="161">
                  <c:v>-5.1567000000000002E-2</c:v>
                </c:pt>
                <c:pt idx="162">
                  <c:v>-5.0880000000000002E-2</c:v>
                </c:pt>
                <c:pt idx="163">
                  <c:v>-3.2384000000000003E-2</c:v>
                </c:pt>
                <c:pt idx="164">
                  <c:v>-1.9723000000000001E-2</c:v>
                </c:pt>
                <c:pt idx="165">
                  <c:v>-4.4790000000000003E-2</c:v>
                </c:pt>
                <c:pt idx="166">
                  <c:v>-8.6997000000000005E-2</c:v>
                </c:pt>
                <c:pt idx="167">
                  <c:v>-8.5792999999999994E-2</c:v>
                </c:pt>
                <c:pt idx="168">
                  <c:v>-5.9523E-2</c:v>
                </c:pt>
                <c:pt idx="169">
                  <c:v>-7.263E-2</c:v>
                </c:pt>
                <c:pt idx="170">
                  <c:v>-6.3562999999999995E-2</c:v>
                </c:pt>
                <c:pt idx="171">
                  <c:v>-1.9730000000000001E-2</c:v>
                </c:pt>
                <c:pt idx="172">
                  <c:v>9.01E-4</c:v>
                </c:pt>
                <c:pt idx="173">
                  <c:v>-9.7169999999999999E-3</c:v>
                </c:pt>
                <c:pt idx="174">
                  <c:v>-6.8430000000000001E-3</c:v>
                </c:pt>
                <c:pt idx="175">
                  <c:v>-3.3305000000000001E-2</c:v>
                </c:pt>
                <c:pt idx="176">
                  <c:v>-3.7344000000000002E-2</c:v>
                </c:pt>
                <c:pt idx="177">
                  <c:v>-1.4704999999999999E-2</c:v>
                </c:pt>
                <c:pt idx="178">
                  <c:v>-3.5742999999999997E-2</c:v>
                </c:pt>
                <c:pt idx="179">
                  <c:v>-7.2049999999999996E-3</c:v>
                </c:pt>
                <c:pt idx="180">
                  <c:v>-3.7205000000000002E-2</c:v>
                </c:pt>
                <c:pt idx="181">
                  <c:v>-7.4679999999999998E-3</c:v>
                </c:pt>
                <c:pt idx="182">
                  <c:v>2.5486999999999999E-2</c:v>
                </c:pt>
                <c:pt idx="183">
                  <c:v>4.3255000000000002E-2</c:v>
                </c:pt>
                <c:pt idx="184">
                  <c:v>4.9084000000000003E-2</c:v>
                </c:pt>
                <c:pt idx="185">
                  <c:v>8.1277000000000002E-2</c:v>
                </c:pt>
                <c:pt idx="186">
                  <c:v>4.4776000000000003E-2</c:v>
                </c:pt>
                <c:pt idx="187">
                  <c:v>-2.9508E-2</c:v>
                </c:pt>
                <c:pt idx="188">
                  <c:v>-5.5627000000000003E-2</c:v>
                </c:pt>
                <c:pt idx="189">
                  <c:v>-8.3333000000000004E-2</c:v>
                </c:pt>
                <c:pt idx="190">
                  <c:v>-0.100855</c:v>
                </c:pt>
                <c:pt idx="191">
                  <c:v>-0.11097600000000001</c:v>
                </c:pt>
                <c:pt idx="192">
                  <c:v>-0.116797</c:v>
                </c:pt>
                <c:pt idx="193">
                  <c:v>-0.106253</c:v>
                </c:pt>
                <c:pt idx="194">
                  <c:v>-0.13977800000000001</c:v>
                </c:pt>
                <c:pt idx="195">
                  <c:v>-0.120238</c:v>
                </c:pt>
                <c:pt idx="196">
                  <c:v>-0.12831000000000001</c:v>
                </c:pt>
                <c:pt idx="197">
                  <c:v>-0.13936799999999999</c:v>
                </c:pt>
                <c:pt idx="198">
                  <c:v>-0.15379999999999999</c:v>
                </c:pt>
                <c:pt idx="199">
                  <c:v>-0.167985</c:v>
                </c:pt>
                <c:pt idx="200">
                  <c:v>-0.17896000000000001</c:v>
                </c:pt>
                <c:pt idx="201">
                  <c:v>-0.226239</c:v>
                </c:pt>
                <c:pt idx="202">
                  <c:v>-0.24338599999999999</c:v>
                </c:pt>
                <c:pt idx="203">
                  <c:v>-0.25223000000000001</c:v>
                </c:pt>
                <c:pt idx="204">
                  <c:v>-0.24249799999999999</c:v>
                </c:pt>
                <c:pt idx="205">
                  <c:v>-0.212618</c:v>
                </c:pt>
                <c:pt idx="206">
                  <c:v>-0.19361100000000001</c:v>
                </c:pt>
                <c:pt idx="207">
                  <c:v>-0.200795</c:v>
                </c:pt>
                <c:pt idx="208">
                  <c:v>-0.22229499999999999</c:v>
                </c:pt>
                <c:pt idx="209">
                  <c:v>-0.220945</c:v>
                </c:pt>
                <c:pt idx="210">
                  <c:v>-0.22755700000000001</c:v>
                </c:pt>
                <c:pt idx="211">
                  <c:v>-0.24860699999999999</c:v>
                </c:pt>
                <c:pt idx="212">
                  <c:v>-0.26700000000000002</c:v>
                </c:pt>
                <c:pt idx="213">
                  <c:v>-0.27749400000000002</c:v>
                </c:pt>
                <c:pt idx="214">
                  <c:v>-0.26925900000000003</c:v>
                </c:pt>
                <c:pt idx="215">
                  <c:v>-0.29533599999999999</c:v>
                </c:pt>
                <c:pt idx="216">
                  <c:v>-0.31926300000000002</c:v>
                </c:pt>
                <c:pt idx="217">
                  <c:v>-0.30579800000000001</c:v>
                </c:pt>
                <c:pt idx="218">
                  <c:v>-0.29844599999999999</c:v>
                </c:pt>
                <c:pt idx="219">
                  <c:v>-0.26555600000000001</c:v>
                </c:pt>
                <c:pt idx="220">
                  <c:v>-0.25606400000000001</c:v>
                </c:pt>
                <c:pt idx="221">
                  <c:v>-0.24653700000000001</c:v>
                </c:pt>
                <c:pt idx="222">
                  <c:v>-0.24429600000000001</c:v>
                </c:pt>
                <c:pt idx="223">
                  <c:v>-0.22558500000000001</c:v>
                </c:pt>
                <c:pt idx="224">
                  <c:v>-0.24230299999999999</c:v>
                </c:pt>
                <c:pt idx="225">
                  <c:v>-0.25458199999999997</c:v>
                </c:pt>
                <c:pt idx="226">
                  <c:v>-0.26560800000000001</c:v>
                </c:pt>
                <c:pt idx="227">
                  <c:v>-0.26254</c:v>
                </c:pt>
                <c:pt idx="228">
                  <c:v>-0.28412799999999999</c:v>
                </c:pt>
                <c:pt idx="229">
                  <c:v>-0.30011100000000002</c:v>
                </c:pt>
                <c:pt idx="230">
                  <c:v>-0.30666599999999999</c:v>
                </c:pt>
                <c:pt idx="231">
                  <c:v>-0.31445000000000001</c:v>
                </c:pt>
                <c:pt idx="232">
                  <c:v>-0.31418000000000001</c:v>
                </c:pt>
                <c:pt idx="233">
                  <c:v>-0.31328299999999998</c:v>
                </c:pt>
                <c:pt idx="234">
                  <c:v>-0.31697599999999998</c:v>
                </c:pt>
                <c:pt idx="235">
                  <c:v>-0.30140800000000001</c:v>
                </c:pt>
                <c:pt idx="236">
                  <c:v>-0.322714</c:v>
                </c:pt>
                <c:pt idx="237">
                  <c:v>-0.36</c:v>
                </c:pt>
                <c:pt idx="238">
                  <c:v>-0.35595700000000002</c:v>
                </c:pt>
                <c:pt idx="239">
                  <c:v>-0.321766</c:v>
                </c:pt>
                <c:pt idx="240">
                  <c:v>-0.34410299999999999</c:v>
                </c:pt>
                <c:pt idx="241">
                  <c:v>-0.30769200000000002</c:v>
                </c:pt>
                <c:pt idx="242">
                  <c:v>-0.321299</c:v>
                </c:pt>
                <c:pt idx="243">
                  <c:v>-0.33027499999999999</c:v>
                </c:pt>
                <c:pt idx="244">
                  <c:v>-0.29622199999999999</c:v>
                </c:pt>
                <c:pt idx="245">
                  <c:v>-0.29799900000000001</c:v>
                </c:pt>
                <c:pt idx="246">
                  <c:v>-0.32567800000000002</c:v>
                </c:pt>
                <c:pt idx="247">
                  <c:v>-0.32751000000000002</c:v>
                </c:pt>
                <c:pt idx="248">
                  <c:v>-0.30237999999999998</c:v>
                </c:pt>
                <c:pt idx="249">
                  <c:v>-0.31678400000000001</c:v>
                </c:pt>
                <c:pt idx="250">
                  <c:v>-0.32195099999999999</c:v>
                </c:pt>
                <c:pt idx="251">
                  <c:v>-0.33251199999999997</c:v>
                </c:pt>
                <c:pt idx="252">
                  <c:v>-0.33333299999999999</c:v>
                </c:pt>
                <c:pt idx="253">
                  <c:v>-0.30252099999999998</c:v>
                </c:pt>
                <c:pt idx="254">
                  <c:v>-0.30144900000000002</c:v>
                </c:pt>
                <c:pt idx="255">
                  <c:v>-0.26707999999999998</c:v>
                </c:pt>
                <c:pt idx="256">
                  <c:v>-0.31076900000000002</c:v>
                </c:pt>
                <c:pt idx="257">
                  <c:v>-0.35126499999999999</c:v>
                </c:pt>
                <c:pt idx="258">
                  <c:v>-0.40506300000000001</c:v>
                </c:pt>
                <c:pt idx="259">
                  <c:v>-0.43537399999999998</c:v>
                </c:pt>
                <c:pt idx="260">
                  <c:v>-0.42181800000000003</c:v>
                </c:pt>
                <c:pt idx="261">
                  <c:v>-0.468864</c:v>
                </c:pt>
                <c:pt idx="262">
                  <c:v>-0.47430800000000001</c:v>
                </c:pt>
                <c:pt idx="263">
                  <c:v>-0.439834</c:v>
                </c:pt>
                <c:pt idx="264">
                  <c:v>-0.43805300000000003</c:v>
                </c:pt>
                <c:pt idx="265">
                  <c:v>-0.43127900000000002</c:v>
                </c:pt>
                <c:pt idx="266">
                  <c:v>-0.44444400000000001</c:v>
                </c:pt>
                <c:pt idx="267">
                  <c:v>-0.4269</c:v>
                </c:pt>
                <c:pt idx="268">
                  <c:v>-0.42424200000000001</c:v>
                </c:pt>
                <c:pt idx="269">
                  <c:v>-0.47368399999999999</c:v>
                </c:pt>
                <c:pt idx="270">
                  <c:v>-0.53472200000000003</c:v>
                </c:pt>
                <c:pt idx="271">
                  <c:v>-0.52482200000000001</c:v>
                </c:pt>
                <c:pt idx="272">
                  <c:v>-0.5</c:v>
                </c:pt>
                <c:pt idx="273">
                  <c:v>-0.50413200000000002</c:v>
                </c:pt>
                <c:pt idx="274">
                  <c:v>-0.51401799999999997</c:v>
                </c:pt>
                <c:pt idx="275">
                  <c:v>-0.469999</c:v>
                </c:pt>
                <c:pt idx="276">
                  <c:v>-0.34883700000000001</c:v>
                </c:pt>
                <c:pt idx="277">
                  <c:v>-0.31578899999999999</c:v>
                </c:pt>
                <c:pt idx="278">
                  <c:v>-0.41025600000000001</c:v>
                </c:pt>
                <c:pt idx="279">
                  <c:v>-0.41176400000000002</c:v>
                </c:pt>
                <c:pt idx="280">
                  <c:v>-0.38235200000000003</c:v>
                </c:pt>
                <c:pt idx="281">
                  <c:v>-0.387096</c:v>
                </c:pt>
                <c:pt idx="282">
                  <c:v>-0.47540900000000003</c:v>
                </c:pt>
                <c:pt idx="283">
                  <c:v>-0.586206</c:v>
                </c:pt>
                <c:pt idx="284">
                  <c:v>-0.50909000000000004</c:v>
                </c:pt>
                <c:pt idx="285">
                  <c:v>-0.52941099999999996</c:v>
                </c:pt>
                <c:pt idx="286">
                  <c:v>-0.54347800000000002</c:v>
                </c:pt>
                <c:pt idx="287">
                  <c:v>-0.652173</c:v>
                </c:pt>
                <c:pt idx="288">
                  <c:v>-0.64285700000000001</c:v>
                </c:pt>
                <c:pt idx="289">
                  <c:v>-0.5625</c:v>
                </c:pt>
                <c:pt idx="290">
                  <c:v>-0.37930999999999998</c:v>
                </c:pt>
                <c:pt idx="291">
                  <c:v>-0.48148099999999999</c:v>
                </c:pt>
                <c:pt idx="292">
                  <c:v>-0.38461499999999998</c:v>
                </c:pt>
                <c:pt idx="293">
                  <c:v>-0.36363600000000001</c:v>
                </c:pt>
                <c:pt idx="294">
                  <c:v>-0.31578899999999999</c:v>
                </c:pt>
                <c:pt idx="295">
                  <c:v>-0.44444400000000001</c:v>
                </c:pt>
                <c:pt idx="296">
                  <c:v>-0.5</c:v>
                </c:pt>
                <c:pt idx="297">
                  <c:v>-0.47368399999999999</c:v>
                </c:pt>
                <c:pt idx="298">
                  <c:v>-0.4375</c:v>
                </c:pt>
                <c:pt idx="299">
                  <c:v>-0.5625</c:v>
                </c:pt>
                <c:pt idx="300">
                  <c:v>-0.28571400000000002</c:v>
                </c:pt>
                <c:pt idx="301">
                  <c:v>0</c:v>
                </c:pt>
                <c:pt idx="302">
                  <c:v>0.25</c:v>
                </c:pt>
                <c:pt idx="303">
                  <c:v>0.14285700000000001</c:v>
                </c:pt>
                <c:pt idx="304">
                  <c:v>0.1</c:v>
                </c:pt>
                <c:pt idx="305">
                  <c:v>0.222222</c:v>
                </c:pt>
                <c:pt idx="306">
                  <c:v>0.2</c:v>
                </c:pt>
                <c:pt idx="307">
                  <c:v>-0.15384600000000001</c:v>
                </c:pt>
                <c:pt idx="308">
                  <c:v>-0.46666600000000003</c:v>
                </c:pt>
                <c:pt idx="309">
                  <c:v>-0.61111099999999996</c:v>
                </c:pt>
                <c:pt idx="310">
                  <c:v>-0.6875</c:v>
                </c:pt>
                <c:pt idx="311">
                  <c:v>-0.45454499999999998</c:v>
                </c:pt>
                <c:pt idx="312">
                  <c:v>-0.41666599999999998</c:v>
                </c:pt>
                <c:pt idx="313">
                  <c:v>-0.5</c:v>
                </c:pt>
                <c:pt idx="314">
                  <c:v>-0.36363600000000001</c:v>
                </c:pt>
                <c:pt idx="315">
                  <c:v>-0.111111</c:v>
                </c:pt>
                <c:pt idx="316">
                  <c:v>0.375</c:v>
                </c:pt>
                <c:pt idx="317">
                  <c:v>0.83333299999999999</c:v>
                </c:pt>
                <c:pt idx="318">
                  <c:v>0.71428499999999995</c:v>
                </c:pt>
                <c:pt idx="319">
                  <c:v>0.5</c:v>
                </c:pt>
                <c:pt idx="320">
                  <c:v>0.33333299999999999</c:v>
                </c:pt>
                <c:pt idx="321">
                  <c:v>0.5</c:v>
                </c:pt>
                <c:pt idx="322">
                  <c:v>0</c:v>
                </c:pt>
                <c:pt idx="323">
                  <c:v>-8.3333000000000004E-2</c:v>
                </c:pt>
                <c:pt idx="324">
                  <c:v>0.15384600000000001</c:v>
                </c:pt>
                <c:pt idx="325">
                  <c:v>7.6923000000000005E-2</c:v>
                </c:pt>
                <c:pt idx="326">
                  <c:v>0</c:v>
                </c:pt>
                <c:pt idx="327">
                  <c:v>-7.1428000000000005E-2</c:v>
                </c:pt>
                <c:pt idx="328">
                  <c:v>-7.6923000000000005E-2</c:v>
                </c:pt>
                <c:pt idx="329">
                  <c:v>-0.2</c:v>
                </c:pt>
                <c:pt idx="330">
                  <c:v>-0.375</c:v>
                </c:pt>
                <c:pt idx="331">
                  <c:v>-0.4375</c:v>
                </c:pt>
                <c:pt idx="332">
                  <c:v>-0.28571400000000002</c:v>
                </c:pt>
                <c:pt idx="333">
                  <c:v>-0.14285700000000001</c:v>
                </c:pt>
                <c:pt idx="334">
                  <c:v>-0.14285700000000001</c:v>
                </c:pt>
                <c:pt idx="335">
                  <c:v>0</c:v>
                </c:pt>
                <c:pt idx="336">
                  <c:v>0.15384600000000001</c:v>
                </c:pt>
                <c:pt idx="337">
                  <c:v>7.1428000000000005E-2</c:v>
                </c:pt>
                <c:pt idx="338">
                  <c:v>0</c:v>
                </c:pt>
                <c:pt idx="339">
                  <c:v>0</c:v>
                </c:pt>
                <c:pt idx="340">
                  <c:v>-7.6923000000000005E-2</c:v>
                </c:pt>
                <c:pt idx="341">
                  <c:v>0</c:v>
                </c:pt>
                <c:pt idx="342">
                  <c:v>-0.125</c:v>
                </c:pt>
                <c:pt idx="343">
                  <c:v>-0.125</c:v>
                </c:pt>
                <c:pt idx="344">
                  <c:v>6.6666000000000003E-2</c:v>
                </c:pt>
                <c:pt idx="345">
                  <c:v>0.28571400000000002</c:v>
                </c:pt>
                <c:pt idx="346">
                  <c:v>0.14285700000000001</c:v>
                </c:pt>
                <c:pt idx="347">
                  <c:v>6.6666000000000003E-2</c:v>
                </c:pt>
                <c:pt idx="348">
                  <c:v>-0.125</c:v>
                </c:pt>
                <c:pt idx="349">
                  <c:v>-0.117647</c:v>
                </c:pt>
                <c:pt idx="350">
                  <c:v>-5.8823E-2</c:v>
                </c:pt>
                <c:pt idx="351">
                  <c:v>-5.5555E-2</c:v>
                </c:pt>
                <c:pt idx="352">
                  <c:v>5.2630999999999997E-2</c:v>
                </c:pt>
                <c:pt idx="353">
                  <c:v>0.277777</c:v>
                </c:pt>
                <c:pt idx="354">
                  <c:v>0.29411700000000002</c:v>
                </c:pt>
                <c:pt idx="355">
                  <c:v>0.29411700000000002</c:v>
                </c:pt>
                <c:pt idx="356">
                  <c:v>0.105263</c:v>
                </c:pt>
                <c:pt idx="357">
                  <c:v>-0.05</c:v>
                </c:pt>
                <c:pt idx="358">
                  <c:v>-0.227272</c:v>
                </c:pt>
                <c:pt idx="359">
                  <c:v>-0.45833299999999999</c:v>
                </c:pt>
                <c:pt idx="360">
                  <c:v>-0.5</c:v>
                </c:pt>
                <c:pt idx="361">
                  <c:v>-0.47826000000000002</c:v>
                </c:pt>
                <c:pt idx="362">
                  <c:v>-0.54166599999999998</c:v>
                </c:pt>
                <c:pt idx="363">
                  <c:v>-0.60869499999999999</c:v>
                </c:pt>
                <c:pt idx="364">
                  <c:v>-0.57142800000000005</c:v>
                </c:pt>
                <c:pt idx="365">
                  <c:v>-0.44444400000000001</c:v>
                </c:pt>
                <c:pt idx="366">
                  <c:v>-0.3125</c:v>
                </c:pt>
                <c:pt idx="367">
                  <c:v>0</c:v>
                </c:pt>
                <c:pt idx="368">
                  <c:v>0.25</c:v>
                </c:pt>
                <c:pt idx="369">
                  <c:v>0.54545399999999999</c:v>
                </c:pt>
                <c:pt idx="370">
                  <c:v>1.0909089999999999</c:v>
                </c:pt>
                <c:pt idx="371">
                  <c:v>1.0833330000000001</c:v>
                </c:pt>
                <c:pt idx="372">
                  <c:v>0.91666599999999998</c:v>
                </c:pt>
                <c:pt idx="373">
                  <c:v>0.4375</c:v>
                </c:pt>
                <c:pt idx="374">
                  <c:v>0.4375</c:v>
                </c:pt>
                <c:pt idx="375">
                  <c:v>0.41176400000000002</c:v>
                </c:pt>
                <c:pt idx="376">
                  <c:v>0.13043399999999999</c:v>
                </c:pt>
                <c:pt idx="377">
                  <c:v>3.7037E-2</c:v>
                </c:pt>
                <c:pt idx="378">
                  <c:v>0.26923000000000002</c:v>
                </c:pt>
                <c:pt idx="379">
                  <c:v>0.4</c:v>
                </c:pt>
                <c:pt idx="380">
                  <c:v>0.42857099999999998</c:v>
                </c:pt>
                <c:pt idx="381">
                  <c:v>0.44444400000000001</c:v>
                </c:pt>
                <c:pt idx="382">
                  <c:v>0.35714200000000002</c:v>
                </c:pt>
                <c:pt idx="383">
                  <c:v>0.117647</c:v>
                </c:pt>
                <c:pt idx="384">
                  <c:v>-8.1081E-2</c:v>
                </c:pt>
                <c:pt idx="385">
                  <c:v>-0.16666600000000001</c:v>
                </c:pt>
                <c:pt idx="386">
                  <c:v>-0.30952299999999999</c:v>
                </c:pt>
                <c:pt idx="387">
                  <c:v>-0.36363600000000001</c:v>
                </c:pt>
                <c:pt idx="388">
                  <c:v>-0.26190400000000003</c:v>
                </c:pt>
                <c:pt idx="389">
                  <c:v>-0.16666600000000001</c:v>
                </c:pt>
                <c:pt idx="390">
                  <c:v>-0.238095</c:v>
                </c:pt>
                <c:pt idx="391">
                  <c:v>-0.205128</c:v>
                </c:pt>
                <c:pt idx="392">
                  <c:v>0</c:v>
                </c:pt>
                <c:pt idx="393">
                  <c:v>-2.8570999999999999E-2</c:v>
                </c:pt>
                <c:pt idx="394">
                  <c:v>0</c:v>
                </c:pt>
                <c:pt idx="395">
                  <c:v>-0.131578</c:v>
                </c:pt>
                <c:pt idx="396">
                  <c:v>-0.13888800000000001</c:v>
                </c:pt>
                <c:pt idx="397">
                  <c:v>0.114285</c:v>
                </c:pt>
                <c:pt idx="398">
                  <c:v>0.162162</c:v>
                </c:pt>
                <c:pt idx="399">
                  <c:v>0.52777700000000005</c:v>
                </c:pt>
                <c:pt idx="400">
                  <c:v>0.78048700000000004</c:v>
                </c:pt>
                <c:pt idx="401">
                  <c:v>0.74999899999999997</c:v>
                </c:pt>
                <c:pt idx="402">
                  <c:v>0.92105199999999998</c:v>
                </c:pt>
                <c:pt idx="403">
                  <c:v>0.92499900000000002</c:v>
                </c:pt>
                <c:pt idx="404">
                  <c:v>0.63043400000000005</c:v>
                </c:pt>
                <c:pt idx="405">
                  <c:v>0.52459</c:v>
                </c:pt>
                <c:pt idx="406">
                  <c:v>0.18181800000000001</c:v>
                </c:pt>
                <c:pt idx="407">
                  <c:v>-1.2987E-2</c:v>
                </c:pt>
                <c:pt idx="408">
                  <c:v>0.12820500000000001</c:v>
                </c:pt>
                <c:pt idx="409">
                  <c:v>0.13414599999999999</c:v>
                </c:pt>
                <c:pt idx="410">
                  <c:v>0.14285700000000001</c:v>
                </c:pt>
                <c:pt idx="411">
                  <c:v>0</c:v>
                </c:pt>
                <c:pt idx="412">
                  <c:v>-6.4219999999999999E-2</c:v>
                </c:pt>
                <c:pt idx="413">
                  <c:v>8.1631999999999996E-2</c:v>
                </c:pt>
                <c:pt idx="414">
                  <c:v>0.31521700000000002</c:v>
                </c:pt>
                <c:pt idx="415">
                  <c:v>0.24752399999999999</c:v>
                </c:pt>
                <c:pt idx="416">
                  <c:v>0.39047599999999999</c:v>
                </c:pt>
                <c:pt idx="417">
                  <c:v>0.49532700000000002</c:v>
                </c:pt>
                <c:pt idx="418">
                  <c:v>0.34645599999999999</c:v>
                </c:pt>
                <c:pt idx="419">
                  <c:v>0.385245</c:v>
                </c:pt>
                <c:pt idx="420">
                  <c:v>0.46093699999999999</c:v>
                </c:pt>
                <c:pt idx="421">
                  <c:v>0.47887299999999999</c:v>
                </c:pt>
                <c:pt idx="422">
                  <c:v>0.35220099999999999</c:v>
                </c:pt>
                <c:pt idx="423">
                  <c:v>0.33720899999999998</c:v>
                </c:pt>
                <c:pt idx="424">
                  <c:v>0.34615299999999999</c:v>
                </c:pt>
                <c:pt idx="425">
                  <c:v>0.372448</c:v>
                </c:pt>
                <c:pt idx="426">
                  <c:v>0.492753</c:v>
                </c:pt>
                <c:pt idx="427">
                  <c:v>0.37930999999999998</c:v>
                </c:pt>
                <c:pt idx="428">
                  <c:v>0.419491</c:v>
                </c:pt>
                <c:pt idx="429">
                  <c:v>0.37642500000000001</c:v>
                </c:pt>
                <c:pt idx="430">
                  <c:v>0.439114</c:v>
                </c:pt>
                <c:pt idx="431">
                  <c:v>0.38831599999999999</c:v>
                </c:pt>
                <c:pt idx="432">
                  <c:v>0.26646700000000001</c:v>
                </c:pt>
                <c:pt idx="433">
                  <c:v>0.26815600000000001</c:v>
                </c:pt>
                <c:pt idx="434">
                  <c:v>0.26052599999999998</c:v>
                </c:pt>
                <c:pt idx="435">
                  <c:v>0.26030900000000001</c:v>
                </c:pt>
                <c:pt idx="436">
                  <c:v>0.15068400000000001</c:v>
                </c:pt>
                <c:pt idx="437">
                  <c:v>0.12808900000000001</c:v>
                </c:pt>
                <c:pt idx="438">
                  <c:v>0.13006300000000001</c:v>
                </c:pt>
                <c:pt idx="439">
                  <c:v>3.8535E-2</c:v>
                </c:pt>
                <c:pt idx="440">
                  <c:v>7.5750000000000001E-3</c:v>
                </c:pt>
                <c:pt idx="441">
                  <c:v>-1.8214000000000001E-2</c:v>
                </c:pt>
                <c:pt idx="442">
                  <c:v>2.3338999999999999E-2</c:v>
                </c:pt>
                <c:pt idx="443">
                  <c:v>4.3251999999999999E-2</c:v>
                </c:pt>
                <c:pt idx="444">
                  <c:v>0.111111</c:v>
                </c:pt>
                <c:pt idx="445">
                  <c:v>0.100993</c:v>
                </c:pt>
                <c:pt idx="446">
                  <c:v>9.7132999999999997E-2</c:v>
                </c:pt>
                <c:pt idx="447">
                  <c:v>0.18270700000000001</c:v>
                </c:pt>
                <c:pt idx="448">
                  <c:v>0.20468700000000001</c:v>
                </c:pt>
                <c:pt idx="449">
                  <c:v>0.177347</c:v>
                </c:pt>
                <c:pt idx="450">
                  <c:v>0.113259</c:v>
                </c:pt>
                <c:pt idx="451">
                  <c:v>8.6898000000000003E-2</c:v>
                </c:pt>
                <c:pt idx="452">
                  <c:v>7.0773000000000003E-2</c:v>
                </c:pt>
                <c:pt idx="453">
                  <c:v>-2.2113000000000001E-2</c:v>
                </c:pt>
                <c:pt idx="454">
                  <c:v>-5.6337999999999999E-2</c:v>
                </c:pt>
                <c:pt idx="455">
                  <c:v>-0.104377</c:v>
                </c:pt>
                <c:pt idx="456">
                  <c:v>-0.10584300000000001</c:v>
                </c:pt>
                <c:pt idx="457">
                  <c:v>-0.14560999999999999</c:v>
                </c:pt>
                <c:pt idx="458">
                  <c:v>-0.144262</c:v>
                </c:pt>
                <c:pt idx="459">
                  <c:v>-0.143176</c:v>
                </c:pt>
                <c:pt idx="460">
                  <c:v>-0.165769</c:v>
                </c:pt>
                <c:pt idx="461">
                  <c:v>-0.187027</c:v>
                </c:pt>
                <c:pt idx="462">
                  <c:v>-0.18582099999999999</c:v>
                </c:pt>
                <c:pt idx="463">
                  <c:v>-0.18797800000000001</c:v>
                </c:pt>
                <c:pt idx="464">
                  <c:v>-0.18551000000000001</c:v>
                </c:pt>
                <c:pt idx="465">
                  <c:v>-0.148617</c:v>
                </c:pt>
                <c:pt idx="466">
                  <c:v>-0.124413</c:v>
                </c:pt>
                <c:pt idx="467">
                  <c:v>-0.166101</c:v>
                </c:pt>
                <c:pt idx="468">
                  <c:v>-0.18202499999999999</c:v>
                </c:pt>
                <c:pt idx="469">
                  <c:v>-0.22031899999999999</c:v>
                </c:pt>
                <c:pt idx="470">
                  <c:v>-0.23640600000000001</c:v>
                </c:pt>
                <c:pt idx="471">
                  <c:v>-0.27229999999999999</c:v>
                </c:pt>
                <c:pt idx="472">
                  <c:v>-0.27196100000000001</c:v>
                </c:pt>
                <c:pt idx="473">
                  <c:v>-0.30703799999999998</c:v>
                </c:pt>
                <c:pt idx="474">
                  <c:v>-0.32810600000000001</c:v>
                </c:pt>
                <c:pt idx="475">
                  <c:v>-0.275308</c:v>
                </c:pt>
                <c:pt idx="476">
                  <c:v>-0.240837</c:v>
                </c:pt>
                <c:pt idx="477">
                  <c:v>-0.20608499999999999</c:v>
                </c:pt>
                <c:pt idx="478">
                  <c:v>-0.20699300000000001</c:v>
                </c:pt>
                <c:pt idx="479">
                  <c:v>-0.221719</c:v>
                </c:pt>
                <c:pt idx="480">
                  <c:v>-0.207874</c:v>
                </c:pt>
                <c:pt idx="481">
                  <c:v>-0.25811200000000001</c:v>
                </c:pt>
                <c:pt idx="482">
                  <c:v>-0.30104300000000001</c:v>
                </c:pt>
                <c:pt idx="483">
                  <c:v>-0.308396</c:v>
                </c:pt>
                <c:pt idx="484">
                  <c:v>-0.30434699999999998</c:v>
                </c:pt>
                <c:pt idx="485">
                  <c:v>-0.29950900000000003</c:v>
                </c:pt>
                <c:pt idx="486">
                  <c:v>-0.22103300000000001</c:v>
                </c:pt>
                <c:pt idx="487">
                  <c:v>-0.222222</c:v>
                </c:pt>
                <c:pt idx="488">
                  <c:v>-0.29660999999999998</c:v>
                </c:pt>
                <c:pt idx="489">
                  <c:v>-0.29608899999999999</c:v>
                </c:pt>
                <c:pt idx="490">
                  <c:v>-0.30019099999999999</c:v>
                </c:pt>
                <c:pt idx="491">
                  <c:v>-0.31526100000000001</c:v>
                </c:pt>
                <c:pt idx="492">
                  <c:v>-0.282744</c:v>
                </c:pt>
                <c:pt idx="493">
                  <c:v>-0.31687199999999999</c:v>
                </c:pt>
                <c:pt idx="494">
                  <c:v>-0.31106400000000001</c:v>
                </c:pt>
                <c:pt idx="495">
                  <c:v>-0.31827899999999998</c:v>
                </c:pt>
                <c:pt idx="496">
                  <c:v>-0.292626</c:v>
                </c:pt>
                <c:pt idx="497">
                  <c:v>-0.27007199999999998</c:v>
                </c:pt>
                <c:pt idx="498">
                  <c:v>-0.26835399999999998</c:v>
                </c:pt>
                <c:pt idx="499">
                  <c:v>-0.32467499999999999</c:v>
                </c:pt>
                <c:pt idx="500">
                  <c:v>-0.35883900000000002</c:v>
                </c:pt>
                <c:pt idx="501">
                  <c:v>-0.38591500000000001</c:v>
                </c:pt>
                <c:pt idx="502">
                  <c:v>-0.41736600000000001</c:v>
                </c:pt>
                <c:pt idx="503">
                  <c:v>-0.42696600000000001</c:v>
                </c:pt>
                <c:pt idx="504">
                  <c:v>-0.46107700000000001</c:v>
                </c:pt>
                <c:pt idx="505">
                  <c:v>-0.41401199999999999</c:v>
                </c:pt>
                <c:pt idx="506">
                  <c:v>-0.34628900000000001</c:v>
                </c:pt>
                <c:pt idx="507">
                  <c:v>-0.27924500000000002</c:v>
                </c:pt>
                <c:pt idx="508">
                  <c:v>-0.13733899999999999</c:v>
                </c:pt>
                <c:pt idx="509">
                  <c:v>-0.106557</c:v>
                </c:pt>
                <c:pt idx="510">
                  <c:v>-8.2969000000000001E-2</c:v>
                </c:pt>
                <c:pt idx="511">
                  <c:v>0</c:v>
                </c:pt>
                <c:pt idx="512">
                  <c:v>-9.5230000000000002E-3</c:v>
                </c:pt>
                <c:pt idx="513">
                  <c:v>7.4765999999999999E-2</c:v>
                </c:pt>
                <c:pt idx="514">
                  <c:v>0.147982</c:v>
                </c:pt>
                <c:pt idx="515">
                  <c:v>9.0128E-2</c:v>
                </c:pt>
                <c:pt idx="516">
                  <c:v>0.10569099999999999</c:v>
                </c:pt>
                <c:pt idx="517">
                  <c:v>0.1893</c:v>
                </c:pt>
                <c:pt idx="518">
                  <c:v>0.22764200000000001</c:v>
                </c:pt>
                <c:pt idx="519">
                  <c:v>0.26953100000000002</c:v>
                </c:pt>
                <c:pt idx="520">
                  <c:v>0.122807</c:v>
                </c:pt>
                <c:pt idx="521">
                  <c:v>9.7902000000000003E-2</c:v>
                </c:pt>
                <c:pt idx="522">
                  <c:v>0.105263</c:v>
                </c:pt>
                <c:pt idx="523">
                  <c:v>4.4164000000000002E-2</c:v>
                </c:pt>
                <c:pt idx="524">
                  <c:v>8.9549999999999994E-3</c:v>
                </c:pt>
                <c:pt idx="525">
                  <c:v>-2.2662000000000002E-2</c:v>
                </c:pt>
                <c:pt idx="526">
                  <c:v>0</c:v>
                </c:pt>
                <c:pt idx="527">
                  <c:v>4.3360000000000003E-2</c:v>
                </c:pt>
                <c:pt idx="528">
                  <c:v>9.0162999999999993E-2</c:v>
                </c:pt>
                <c:pt idx="529">
                  <c:v>5.2490000000000002E-3</c:v>
                </c:pt>
                <c:pt idx="530">
                  <c:v>-1.8276000000000001E-2</c:v>
                </c:pt>
                <c:pt idx="531">
                  <c:v>-3.0689999999999999E-2</c:v>
                </c:pt>
                <c:pt idx="532">
                  <c:v>-6.6824999999999996E-2</c:v>
                </c:pt>
                <c:pt idx="533">
                  <c:v>-0.14018600000000001</c:v>
                </c:pt>
                <c:pt idx="534">
                  <c:v>-0.19419600000000001</c:v>
                </c:pt>
                <c:pt idx="535">
                  <c:v>-0.234482</c:v>
                </c:pt>
                <c:pt idx="536">
                  <c:v>-0.19714899999999999</c:v>
                </c:pt>
                <c:pt idx="537">
                  <c:v>-0.18518499999999999</c:v>
                </c:pt>
                <c:pt idx="538">
                  <c:v>-0.21524599999999999</c:v>
                </c:pt>
                <c:pt idx="539">
                  <c:v>-0.25617899999999999</c:v>
                </c:pt>
                <c:pt idx="540">
                  <c:v>-0.18032699999999999</c:v>
                </c:pt>
                <c:pt idx="541">
                  <c:v>-0.18313199999999999</c:v>
                </c:pt>
                <c:pt idx="542">
                  <c:v>-0.18362200000000001</c:v>
                </c:pt>
                <c:pt idx="543">
                  <c:v>-0.224999</c:v>
                </c:pt>
                <c:pt idx="544">
                  <c:v>-0.26076500000000002</c:v>
                </c:pt>
                <c:pt idx="545">
                  <c:v>-0.29166599999999998</c:v>
                </c:pt>
                <c:pt idx="546">
                  <c:v>-0.29850700000000002</c:v>
                </c:pt>
                <c:pt idx="547">
                  <c:v>-0.37563400000000002</c:v>
                </c:pt>
                <c:pt idx="548">
                  <c:v>-0.39153399999999999</c:v>
                </c:pt>
                <c:pt idx="549">
                  <c:v>-0.38121500000000003</c:v>
                </c:pt>
                <c:pt idx="550">
                  <c:v>-0.41690899999999997</c:v>
                </c:pt>
                <c:pt idx="551">
                  <c:v>-0.515942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C8-4E7B-83D3-5242563E84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procento_novych_JIP_znovych_hosp_nyni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53</c:f>
              <c:numCache>
                <c:formatCode>m/d/yyyy</c:formatCode>
                <c:ptCount val="55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</c:numCache>
            </c:numRef>
          </c:cat>
          <c:val>
            <c:numRef>
              <c:f>Sheet1!$B$2:$B$553</c:f>
              <c:numCache>
                <c:formatCode>0%</c:formatCode>
                <c:ptCount val="552"/>
                <c:pt idx="0">
                  <c:v>0.27407407407395717</c:v>
                </c:pt>
                <c:pt idx="1">
                  <c:v>0.29710144927529236</c:v>
                </c:pt>
                <c:pt idx="2">
                  <c:v>0.2847682119204441</c:v>
                </c:pt>
                <c:pt idx="3">
                  <c:v>0.2901234567902114</c:v>
                </c:pt>
                <c:pt idx="4">
                  <c:v>0.25555555555556653</c:v>
                </c:pt>
                <c:pt idx="5">
                  <c:v>0.23783783783781448</c:v>
                </c:pt>
                <c:pt idx="6">
                  <c:v>0.23076923076919792</c:v>
                </c:pt>
                <c:pt idx="7">
                  <c:v>0.22790697674414956</c:v>
                </c:pt>
                <c:pt idx="8">
                  <c:v>0.20901639344263936</c:v>
                </c:pt>
                <c:pt idx="9">
                  <c:v>0.19834710743801348</c:v>
                </c:pt>
                <c:pt idx="10">
                  <c:v>0.18352059925090894</c:v>
                </c:pt>
                <c:pt idx="11">
                  <c:v>0.1924528301886666</c:v>
                </c:pt>
                <c:pt idx="12">
                  <c:v>0.19031141868485746</c:v>
                </c:pt>
                <c:pt idx="13">
                  <c:v>0.19322033898279783</c:v>
                </c:pt>
                <c:pt idx="14">
                  <c:v>0.18786127167612485</c:v>
                </c:pt>
                <c:pt idx="15">
                  <c:v>0.17112299465221598</c:v>
                </c:pt>
                <c:pt idx="16">
                  <c:v>0.15789473684199706</c:v>
                </c:pt>
                <c:pt idx="17">
                  <c:v>0.1796407185628382</c:v>
                </c:pt>
                <c:pt idx="18">
                  <c:v>0.20110701106998166</c:v>
                </c:pt>
                <c:pt idx="19">
                  <c:v>0.21081081081070185</c:v>
                </c:pt>
                <c:pt idx="20">
                  <c:v>0.23316912972082443</c:v>
                </c:pt>
                <c:pt idx="21">
                  <c:v>0.23317683881061357</c:v>
                </c:pt>
                <c:pt idx="22">
                  <c:v>0.23252496433656761</c:v>
                </c:pt>
                <c:pt idx="23">
                  <c:v>0.25070422535205139</c:v>
                </c:pt>
                <c:pt idx="24">
                  <c:v>0.2315789473683596</c:v>
                </c:pt>
                <c:pt idx="25">
                  <c:v>0.22208281053944876</c:v>
                </c:pt>
                <c:pt idx="26">
                  <c:v>0.21845794392518131</c:v>
                </c:pt>
                <c:pt idx="27">
                  <c:v>0.23031727379550185</c:v>
                </c:pt>
                <c:pt idx="28">
                  <c:v>0.21314952279956043</c:v>
                </c:pt>
                <c:pt idx="29">
                  <c:v>0.21115537848605684</c:v>
                </c:pt>
                <c:pt idx="30">
                  <c:v>0.215297450424871</c:v>
                </c:pt>
                <c:pt idx="31">
                  <c:v>0.21523472099199059</c:v>
                </c:pt>
                <c:pt idx="32">
                  <c:v>0.23162393162386299</c:v>
                </c:pt>
                <c:pt idx="33">
                  <c:v>0.2352459016393014</c:v>
                </c:pt>
                <c:pt idx="34">
                  <c:v>0.20959774170781209</c:v>
                </c:pt>
                <c:pt idx="35">
                  <c:v>0.22368421052628581</c:v>
                </c:pt>
                <c:pt idx="36">
                  <c:v>0.22793228536880647</c:v>
                </c:pt>
                <c:pt idx="37">
                  <c:v>0.21775082690184511</c:v>
                </c:pt>
                <c:pt idx="38">
                  <c:v>0.22121212121208467</c:v>
                </c:pt>
                <c:pt idx="39">
                  <c:v>0.22296015180265311</c:v>
                </c:pt>
                <c:pt idx="40">
                  <c:v>0.21887824897400715</c:v>
                </c:pt>
                <c:pt idx="41">
                  <c:v>0.2134551495016466</c:v>
                </c:pt>
                <c:pt idx="42">
                  <c:v>0.20569867291178326</c:v>
                </c:pt>
                <c:pt idx="43">
                  <c:v>0.19963833634717726</c:v>
                </c:pt>
                <c:pt idx="44">
                  <c:v>0.19993129508759866</c:v>
                </c:pt>
                <c:pt idx="45">
                  <c:v>0.19481765834931383</c:v>
                </c:pt>
                <c:pt idx="46">
                  <c:v>0.1781557743956822</c:v>
                </c:pt>
                <c:pt idx="47">
                  <c:v>0.17824267782426634</c:v>
                </c:pt>
                <c:pt idx="48">
                  <c:v>0.17433862433860975</c:v>
                </c:pt>
                <c:pt idx="49">
                  <c:v>0.17310513447430931</c:v>
                </c:pt>
                <c:pt idx="50">
                  <c:v>0.17139031466189386</c:v>
                </c:pt>
                <c:pt idx="51">
                  <c:v>0.17064563006019162</c:v>
                </c:pt>
                <c:pt idx="52">
                  <c:v>0.16488638570595934</c:v>
                </c:pt>
                <c:pt idx="53">
                  <c:v>0.16918767507002666</c:v>
                </c:pt>
                <c:pt idx="54">
                  <c:v>0.16949455259867244</c:v>
                </c:pt>
                <c:pt idx="55">
                  <c:v>0.17285595337218038</c:v>
                </c:pt>
                <c:pt idx="56">
                  <c:v>0.16782334384857769</c:v>
                </c:pt>
                <c:pt idx="57">
                  <c:v>0.16757275343779421</c:v>
                </c:pt>
                <c:pt idx="58">
                  <c:v>0.168321368565749</c:v>
                </c:pt>
                <c:pt idx="59">
                  <c:v>0.16405907296388147</c:v>
                </c:pt>
                <c:pt idx="60">
                  <c:v>0.16975894813732301</c:v>
                </c:pt>
                <c:pt idx="61">
                  <c:v>0.17179183914842824</c:v>
                </c:pt>
                <c:pt idx="62">
                  <c:v>0.16959409594095115</c:v>
                </c:pt>
                <c:pt idx="63">
                  <c:v>0.17295690936106484</c:v>
                </c:pt>
                <c:pt idx="64">
                  <c:v>0.17125870069605686</c:v>
                </c:pt>
                <c:pt idx="65">
                  <c:v>0.17116306954435417</c:v>
                </c:pt>
                <c:pt idx="66">
                  <c:v>0.18239975035106473</c:v>
                </c:pt>
                <c:pt idx="67">
                  <c:v>0.17777777777777495</c:v>
                </c:pt>
                <c:pt idx="68">
                  <c:v>0.17844897959182721</c:v>
                </c:pt>
                <c:pt idx="69">
                  <c:v>0.17713801862827339</c:v>
                </c:pt>
                <c:pt idx="70">
                  <c:v>0.17780492060722428</c:v>
                </c:pt>
                <c:pt idx="71">
                  <c:v>0.17866909753872948</c:v>
                </c:pt>
                <c:pt idx="72">
                  <c:v>0.18044259504444637</c:v>
                </c:pt>
                <c:pt idx="73">
                  <c:v>0.17388781431334099</c:v>
                </c:pt>
                <c:pt idx="74">
                  <c:v>0.17393879565645762</c:v>
                </c:pt>
                <c:pt idx="75">
                  <c:v>0.16978446522976134</c:v>
                </c:pt>
                <c:pt idx="76">
                  <c:v>0.17221753794265182</c:v>
                </c:pt>
                <c:pt idx="77">
                  <c:v>0.17738565126536526</c:v>
                </c:pt>
                <c:pt idx="78">
                  <c:v>0.1761694205259296</c:v>
                </c:pt>
                <c:pt idx="79">
                  <c:v>0.17551020408162601</c:v>
                </c:pt>
                <c:pt idx="80">
                  <c:v>0.18485005170629232</c:v>
                </c:pt>
                <c:pt idx="81">
                  <c:v>0.19110992813413488</c:v>
                </c:pt>
                <c:pt idx="82">
                  <c:v>0.19940152339498873</c:v>
                </c:pt>
                <c:pt idx="83">
                  <c:v>0.2004498172617232</c:v>
                </c:pt>
                <c:pt idx="84">
                  <c:v>0.18594164456231105</c:v>
                </c:pt>
                <c:pt idx="85">
                  <c:v>0.1926787741203107</c:v>
                </c:pt>
                <c:pt idx="86">
                  <c:v>0.19061583577710528</c:v>
                </c:pt>
                <c:pt idx="87">
                  <c:v>0.18536292741450358</c:v>
                </c:pt>
                <c:pt idx="88">
                  <c:v>0.18507188742732852</c:v>
                </c:pt>
                <c:pt idx="89">
                  <c:v>0.1738340399757663</c:v>
                </c:pt>
                <c:pt idx="90">
                  <c:v>0.17252002464570479</c:v>
                </c:pt>
                <c:pt idx="91">
                  <c:v>0.17457737321196723</c:v>
                </c:pt>
                <c:pt idx="92">
                  <c:v>0.17790200591908048</c:v>
                </c:pt>
                <c:pt idx="93">
                  <c:v>0.17726396917146314</c:v>
                </c:pt>
                <c:pt idx="94">
                  <c:v>0.17358490566036103</c:v>
                </c:pt>
                <c:pt idx="95">
                  <c:v>0.16374999999999512</c:v>
                </c:pt>
                <c:pt idx="96">
                  <c:v>0.16802507836990824</c:v>
                </c:pt>
                <c:pt idx="97">
                  <c:v>0.17661847894404911</c:v>
                </c:pt>
                <c:pt idx="98">
                  <c:v>0.18133416849357636</c:v>
                </c:pt>
                <c:pt idx="99">
                  <c:v>0.17321156773210394</c:v>
                </c:pt>
                <c:pt idx="100">
                  <c:v>0.17809057527539413</c:v>
                </c:pt>
                <c:pt idx="101">
                  <c:v>0.18170580964153507</c:v>
                </c:pt>
                <c:pt idx="102">
                  <c:v>0.18667068757538063</c:v>
                </c:pt>
                <c:pt idx="103">
                  <c:v>0.18651148910772244</c:v>
                </c:pt>
                <c:pt idx="104">
                  <c:v>0.17782365084043916</c:v>
                </c:pt>
                <c:pt idx="105">
                  <c:v>0.17636937195295452</c:v>
                </c:pt>
                <c:pt idx="106">
                  <c:v>0.18669778296382594</c:v>
                </c:pt>
                <c:pt idx="107">
                  <c:v>0.18160786581838712</c:v>
                </c:pt>
                <c:pt idx="108">
                  <c:v>0.18225898459783302</c:v>
                </c:pt>
                <c:pt idx="109">
                  <c:v>0.18310265282583368</c:v>
                </c:pt>
                <c:pt idx="110">
                  <c:v>0.18316690442225619</c:v>
                </c:pt>
                <c:pt idx="111">
                  <c:v>0.1840455840455878</c:v>
                </c:pt>
                <c:pt idx="112">
                  <c:v>0.18862107623317484</c:v>
                </c:pt>
                <c:pt idx="113">
                  <c:v>0.1782759540965983</c:v>
                </c:pt>
                <c:pt idx="114">
                  <c:v>0.18734248109772061</c:v>
                </c:pt>
                <c:pt idx="115">
                  <c:v>0.19226393629123223</c:v>
                </c:pt>
                <c:pt idx="116">
                  <c:v>0.18849152998115851</c:v>
                </c:pt>
                <c:pt idx="117">
                  <c:v>0.1843037974683463</c:v>
                </c:pt>
                <c:pt idx="118">
                  <c:v>0.17540276832310989</c:v>
                </c:pt>
                <c:pt idx="119">
                  <c:v>0.17414416330000854</c:v>
                </c:pt>
                <c:pt idx="120">
                  <c:v>0.17491274892219108</c:v>
                </c:pt>
                <c:pt idx="121">
                  <c:v>0.17449791587721108</c:v>
                </c:pt>
                <c:pt idx="122">
                  <c:v>0.17340504451037775</c:v>
                </c:pt>
                <c:pt idx="123">
                  <c:v>0.16660662824206418</c:v>
                </c:pt>
                <c:pt idx="124">
                  <c:v>0.17082738944365092</c:v>
                </c:pt>
                <c:pt idx="125">
                  <c:v>0.16941297631307117</c:v>
                </c:pt>
                <c:pt idx="126">
                  <c:v>0.16613256872996296</c:v>
                </c:pt>
                <c:pt idx="127">
                  <c:v>0.16727332892124275</c:v>
                </c:pt>
                <c:pt idx="128">
                  <c:v>0.15859739424158703</c:v>
                </c:pt>
                <c:pt idx="129">
                  <c:v>0.15799256505576154</c:v>
                </c:pt>
                <c:pt idx="130">
                  <c:v>0.16658793890725393</c:v>
                </c:pt>
                <c:pt idx="131">
                  <c:v>0.16901860166773011</c:v>
                </c:pt>
                <c:pt idx="132">
                  <c:v>0.17596202746227205</c:v>
                </c:pt>
                <c:pt idx="133">
                  <c:v>0.17807047553882102</c:v>
                </c:pt>
                <c:pt idx="134">
                  <c:v>0.18136379864334237</c:v>
                </c:pt>
                <c:pt idx="135">
                  <c:v>0.192186046511615</c:v>
                </c:pt>
                <c:pt idx="136">
                  <c:v>0.19399886771087554</c:v>
                </c:pt>
                <c:pt idx="137">
                  <c:v>0.19636293286902431</c:v>
                </c:pt>
                <c:pt idx="138">
                  <c:v>0.19386942675157867</c:v>
                </c:pt>
                <c:pt idx="139">
                  <c:v>0.19707436001623788</c:v>
                </c:pt>
                <c:pt idx="140">
                  <c:v>0.20243693886275449</c:v>
                </c:pt>
                <c:pt idx="141">
                  <c:v>0.19978586723767561</c:v>
                </c:pt>
                <c:pt idx="142">
                  <c:v>0.19911894273127606</c:v>
                </c:pt>
                <c:pt idx="143">
                  <c:v>0.19986690328304818</c:v>
                </c:pt>
                <c:pt idx="144">
                  <c:v>0.19528993556986163</c:v>
                </c:pt>
                <c:pt idx="145">
                  <c:v>0.19375696766999681</c:v>
                </c:pt>
                <c:pt idx="146">
                  <c:v>0.19583142464498515</c:v>
                </c:pt>
                <c:pt idx="147">
                  <c:v>0.19200734956361054</c:v>
                </c:pt>
                <c:pt idx="148">
                  <c:v>0.19260472735781592</c:v>
                </c:pt>
                <c:pt idx="149">
                  <c:v>0.19350282485874215</c:v>
                </c:pt>
                <c:pt idx="150">
                  <c:v>0.19644145227216633</c:v>
                </c:pt>
                <c:pt idx="151">
                  <c:v>0.20183930300095823</c:v>
                </c:pt>
                <c:pt idx="152">
                  <c:v>0.20439719739066847</c:v>
                </c:pt>
                <c:pt idx="153">
                  <c:v>0.19816211121582689</c:v>
                </c:pt>
                <c:pt idx="154">
                  <c:v>0.20786382162549269</c:v>
                </c:pt>
                <c:pt idx="155">
                  <c:v>0.21028708133970023</c:v>
                </c:pt>
                <c:pt idx="156">
                  <c:v>0.20944366526413705</c:v>
                </c:pt>
                <c:pt idx="157">
                  <c:v>0.20657276995304177</c:v>
                </c:pt>
                <c:pt idx="158">
                  <c:v>0.20742459396751331</c:v>
                </c:pt>
                <c:pt idx="159">
                  <c:v>0.21289286533607088</c:v>
                </c:pt>
                <c:pt idx="160">
                  <c:v>0.22019635343617713</c:v>
                </c:pt>
                <c:pt idx="161">
                  <c:v>0.21773444753944951</c:v>
                </c:pt>
                <c:pt idx="162">
                  <c:v>0.22453703703702033</c:v>
                </c:pt>
                <c:pt idx="163">
                  <c:v>0.22962272938983327</c:v>
                </c:pt>
                <c:pt idx="164">
                  <c:v>0.23046603292371212</c:v>
                </c:pt>
                <c:pt idx="165">
                  <c:v>0.22708333333332084</c:v>
                </c:pt>
                <c:pt idx="166">
                  <c:v>0.22166704519644034</c:v>
                </c:pt>
                <c:pt idx="167">
                  <c:v>0.22244668911334509</c:v>
                </c:pt>
                <c:pt idx="168">
                  <c:v>0.22521929824559736</c:v>
                </c:pt>
                <c:pt idx="169">
                  <c:v>0.2216342082980432</c:v>
                </c:pt>
                <c:pt idx="170">
                  <c:v>0.21665285832641992</c:v>
                </c:pt>
                <c:pt idx="171">
                  <c:v>0.2190380761522934</c:v>
                </c:pt>
                <c:pt idx="172">
                  <c:v>0.21902131018152779</c:v>
                </c:pt>
                <c:pt idx="173">
                  <c:v>0.21826323987538859</c:v>
                </c:pt>
                <c:pt idx="174">
                  <c:v>0.21608040201004378</c:v>
                </c:pt>
                <c:pt idx="175">
                  <c:v>0.21151393696483187</c:v>
                </c:pt>
                <c:pt idx="176">
                  <c:v>0.20908435472241507</c:v>
                </c:pt>
                <c:pt idx="177">
                  <c:v>0.2092297015961076</c:v>
                </c:pt>
                <c:pt idx="178">
                  <c:v>0.20159646739129189</c:v>
                </c:pt>
                <c:pt idx="179">
                  <c:v>0.20516214427530235</c:v>
                </c:pt>
                <c:pt idx="180">
                  <c:v>0.20725727361882426</c:v>
                </c:pt>
                <c:pt idx="181">
                  <c:v>0.21028481012657968</c:v>
                </c:pt>
                <c:pt idx="182">
                  <c:v>0.20959092998314108</c:v>
                </c:pt>
                <c:pt idx="183">
                  <c:v>0.21668950814678697</c:v>
                </c:pt>
                <c:pt idx="184">
                  <c:v>0.21882640586796653</c:v>
                </c:pt>
                <c:pt idx="185">
                  <c:v>0.22741147741147394</c:v>
                </c:pt>
                <c:pt idx="186">
                  <c:v>0.22320072881869901</c:v>
                </c:pt>
                <c:pt idx="187">
                  <c:v>0.22279090772240961</c:v>
                </c:pt>
                <c:pt idx="188">
                  <c:v>0.22354922676465097</c:v>
                </c:pt>
                <c:pt idx="189">
                  <c:v>0.22643553629467986</c:v>
                </c:pt>
                <c:pt idx="190">
                  <c:v>0.22220543806645626</c:v>
                </c:pt>
                <c:pt idx="191">
                  <c:v>0.22084965351008518</c:v>
                </c:pt>
                <c:pt idx="192">
                  <c:v>0.21875932001192097</c:v>
                </c:pt>
                <c:pt idx="193">
                  <c:v>0.21963592957325451</c:v>
                </c:pt>
                <c:pt idx="194">
                  <c:v>0.2227752639517295</c:v>
                </c:pt>
                <c:pt idx="195">
                  <c:v>0.22115816250186568</c:v>
                </c:pt>
                <c:pt idx="196">
                  <c:v>0.2242919884900747</c:v>
                </c:pt>
                <c:pt idx="197">
                  <c:v>0.22382280049566103</c:v>
                </c:pt>
                <c:pt idx="198">
                  <c:v>0.22455089820358581</c:v>
                </c:pt>
                <c:pt idx="199">
                  <c:v>0.22116162433262415</c:v>
                </c:pt>
                <c:pt idx="200">
                  <c:v>0.22610722610721612</c:v>
                </c:pt>
                <c:pt idx="201">
                  <c:v>0.22373967290507255</c:v>
                </c:pt>
                <c:pt idx="202">
                  <c:v>0.2211340206185583</c:v>
                </c:pt>
                <c:pt idx="203">
                  <c:v>0.22220258087324735</c:v>
                </c:pt>
                <c:pt idx="204">
                  <c:v>0.22499090578392425</c:v>
                </c:pt>
                <c:pt idx="205">
                  <c:v>0.23106832068134442</c:v>
                </c:pt>
                <c:pt idx="206">
                  <c:v>0.23282514586862499</c:v>
                </c:pt>
                <c:pt idx="207">
                  <c:v>0.22754716981131284</c:v>
                </c:pt>
                <c:pt idx="208">
                  <c:v>0.22729014948254417</c:v>
                </c:pt>
                <c:pt idx="209">
                  <c:v>0.22995612285599637</c:v>
                </c:pt>
                <c:pt idx="210">
                  <c:v>0.22653061224489096</c:v>
                </c:pt>
                <c:pt idx="211">
                  <c:v>0.22395184723950293</c:v>
                </c:pt>
                <c:pt idx="212">
                  <c:v>0.21750212404416389</c:v>
                </c:pt>
                <c:pt idx="213">
                  <c:v>0.22073876279482851</c:v>
                </c:pt>
                <c:pt idx="214">
                  <c:v>0.22139134375706435</c:v>
                </c:pt>
                <c:pt idx="215">
                  <c:v>0.2181484876260289</c:v>
                </c:pt>
                <c:pt idx="216">
                  <c:v>0.2252984505968938</c:v>
                </c:pt>
                <c:pt idx="217">
                  <c:v>0.20526068576795409</c:v>
                </c:pt>
                <c:pt idx="218">
                  <c:v>0.20800000000000032</c:v>
                </c:pt>
                <c:pt idx="219">
                  <c:v>0.21323155216284004</c:v>
                </c:pt>
                <c:pt idx="220">
                  <c:v>0.21274409044192144</c:v>
                </c:pt>
                <c:pt idx="221">
                  <c:v>0.21953188054881459</c:v>
                </c:pt>
                <c:pt idx="222">
                  <c:v>0.22337735318909724</c:v>
                </c:pt>
                <c:pt idx="223">
                  <c:v>0.21702244116036629</c:v>
                </c:pt>
                <c:pt idx="224">
                  <c:v>0.25181518151813287</c:v>
                </c:pt>
                <c:pt idx="225">
                  <c:v>0.25381414701802141</c:v>
                </c:pt>
                <c:pt idx="226">
                  <c:v>0.24723904524403606</c:v>
                </c:pt>
                <c:pt idx="227">
                  <c:v>0.2592870544090044</c:v>
                </c:pt>
                <c:pt idx="228">
                  <c:v>0.24599542334096292</c:v>
                </c:pt>
                <c:pt idx="229">
                  <c:v>0.24366471734891734</c:v>
                </c:pt>
                <c:pt idx="230">
                  <c:v>0.2505018065034042</c:v>
                </c:pt>
                <c:pt idx="231">
                  <c:v>0.2410569105690728</c:v>
                </c:pt>
                <c:pt idx="232">
                  <c:v>0.23239436619716314</c:v>
                </c:pt>
                <c:pt idx="233">
                  <c:v>0.23448866067605451</c:v>
                </c:pt>
                <c:pt idx="234">
                  <c:v>0.22838137472282208</c:v>
                </c:pt>
                <c:pt idx="235">
                  <c:v>0.22941720629044737</c:v>
                </c:pt>
                <c:pt idx="236">
                  <c:v>0.23341288782812428</c:v>
                </c:pt>
                <c:pt idx="237">
                  <c:v>0.23092783505152559</c:v>
                </c:pt>
                <c:pt idx="238">
                  <c:v>0.23156182212581847</c:v>
                </c:pt>
                <c:pt idx="239">
                  <c:v>0.24884259259260347</c:v>
                </c:pt>
                <c:pt idx="240">
                  <c:v>0.23854289071678464</c:v>
                </c:pt>
                <c:pt idx="241">
                  <c:v>0.23568818514003559</c:v>
                </c:pt>
                <c:pt idx="242">
                  <c:v>0.23067484662577509</c:v>
                </c:pt>
                <c:pt idx="243">
                  <c:v>0.22713130056003955</c:v>
                </c:pt>
                <c:pt idx="244">
                  <c:v>0.21744471744470334</c:v>
                </c:pt>
                <c:pt idx="245">
                  <c:v>0.22543352601153435</c:v>
                </c:pt>
                <c:pt idx="246">
                  <c:v>0.21518987341772303</c:v>
                </c:pt>
                <c:pt idx="247">
                  <c:v>0.21952957947255422</c:v>
                </c:pt>
                <c:pt idx="248">
                  <c:v>0.21231884057967929</c:v>
                </c:pt>
                <c:pt idx="249">
                  <c:v>0.22061068702286793</c:v>
                </c:pt>
                <c:pt idx="250">
                  <c:v>0.22011084718918156</c:v>
                </c:pt>
                <c:pt idx="251">
                  <c:v>0.23463203463197022</c:v>
                </c:pt>
                <c:pt idx="252">
                  <c:v>0.24021838034577248</c:v>
                </c:pt>
                <c:pt idx="253">
                  <c:v>0.23557237464519812</c:v>
                </c:pt>
                <c:pt idx="254">
                  <c:v>0.23743842364527748</c:v>
                </c:pt>
                <c:pt idx="255">
                  <c:v>0.25240641711225609</c:v>
                </c:pt>
                <c:pt idx="256">
                  <c:v>0.24696802646078153</c:v>
                </c:pt>
                <c:pt idx="257">
                  <c:v>0.23617511520737478</c:v>
                </c:pt>
                <c:pt idx="258">
                  <c:v>0.23707440100877752</c:v>
                </c:pt>
                <c:pt idx="259">
                  <c:v>0.21928665785989024</c:v>
                </c:pt>
                <c:pt idx="260">
                  <c:v>0.23177842565597837</c:v>
                </c:pt>
                <c:pt idx="261">
                  <c:v>0.23089171974519052</c:v>
                </c:pt>
                <c:pt idx="262">
                  <c:v>0.21451612903219708</c:v>
                </c:pt>
                <c:pt idx="263">
                  <c:v>0.22959183673462222</c:v>
                </c:pt>
                <c:pt idx="264">
                  <c:v>0.23007246376804047</c:v>
                </c:pt>
                <c:pt idx="265">
                  <c:v>0.24640657084179138</c:v>
                </c:pt>
                <c:pt idx="266">
                  <c:v>0.23917995444194429</c:v>
                </c:pt>
                <c:pt idx="267">
                  <c:v>0.21973094170403143</c:v>
                </c:pt>
                <c:pt idx="268">
                  <c:v>0.22727272727268866</c:v>
                </c:pt>
                <c:pt idx="269">
                  <c:v>0.22038567493101766</c:v>
                </c:pt>
                <c:pt idx="270">
                  <c:v>0.19197707736372993</c:v>
                </c:pt>
                <c:pt idx="271">
                  <c:v>0.19364161849694447</c:v>
                </c:pt>
                <c:pt idx="272">
                  <c:v>0.1860465116277269</c:v>
                </c:pt>
                <c:pt idx="273">
                  <c:v>0.18749999999975725</c:v>
                </c:pt>
                <c:pt idx="274">
                  <c:v>0.18571428571432194</c:v>
                </c:pt>
                <c:pt idx="275">
                  <c:v>0.20463320463321258</c:v>
                </c:pt>
                <c:pt idx="276">
                  <c:v>0.2304526748968096</c:v>
                </c:pt>
                <c:pt idx="277">
                  <c:v>0.21940928270045829</c:v>
                </c:pt>
                <c:pt idx="278">
                  <c:v>0.20720720720722161</c:v>
                </c:pt>
                <c:pt idx="279">
                  <c:v>0.22346368715078538</c:v>
                </c:pt>
                <c:pt idx="280">
                  <c:v>0.2399999999999797</c:v>
                </c:pt>
                <c:pt idx="281">
                  <c:v>0.25675675675661896</c:v>
                </c:pt>
                <c:pt idx="282">
                  <c:v>0.21621621621600545</c:v>
                </c:pt>
                <c:pt idx="283">
                  <c:v>0.19047619047588848</c:v>
                </c:pt>
                <c:pt idx="284">
                  <c:v>0.22689075630228278</c:v>
                </c:pt>
                <c:pt idx="285">
                  <c:v>0.21428571428543117</c:v>
                </c:pt>
                <c:pt idx="286">
                  <c:v>0.17948717948682927</c:v>
                </c:pt>
                <c:pt idx="287">
                  <c:v>0.16842105263095922</c:v>
                </c:pt>
                <c:pt idx="288">
                  <c:v>0.17441860465049056</c:v>
                </c:pt>
                <c:pt idx="289">
                  <c:v>0.15909090909022122</c:v>
                </c:pt>
                <c:pt idx="290">
                  <c:v>0.20689655172353971</c:v>
                </c:pt>
                <c:pt idx="291">
                  <c:v>0.15730337078583315</c:v>
                </c:pt>
                <c:pt idx="292">
                  <c:v>0.18604651162725877</c:v>
                </c:pt>
                <c:pt idx="293">
                  <c:v>0.18918918918844338</c:v>
                </c:pt>
                <c:pt idx="294">
                  <c:v>0.18055555555476777</c:v>
                </c:pt>
                <c:pt idx="295">
                  <c:v>0.13698630136898002</c:v>
                </c:pt>
                <c:pt idx="296">
                  <c:v>0.1636363636352777</c:v>
                </c:pt>
                <c:pt idx="297">
                  <c:v>0.19607843137114953</c:v>
                </c:pt>
                <c:pt idx="298">
                  <c:v>0.21428571428405341</c:v>
                </c:pt>
                <c:pt idx="299">
                  <c:v>0.16279069767269003</c:v>
                </c:pt>
                <c:pt idx="300">
                  <c:v>0.2499999999983353</c:v>
                </c:pt>
                <c:pt idx="301">
                  <c:v>0.38235294117485774</c:v>
                </c:pt>
                <c:pt idx="302">
                  <c:v>0.37499999999861272</c:v>
                </c:pt>
                <c:pt idx="303">
                  <c:v>0.42105263157759476</c:v>
                </c:pt>
                <c:pt idx="304">
                  <c:v>0.30555555555384295</c:v>
                </c:pt>
                <c:pt idx="305">
                  <c:v>0.29729729729561111</c:v>
                </c:pt>
                <c:pt idx="306">
                  <c:v>0.32432432432270303</c:v>
                </c:pt>
                <c:pt idx="307">
                  <c:v>0.32352941176293942</c:v>
                </c:pt>
                <c:pt idx="308">
                  <c:v>0.2580645161269074</c:v>
                </c:pt>
                <c:pt idx="309">
                  <c:v>0.24999999999762193</c:v>
                </c:pt>
                <c:pt idx="310">
                  <c:v>0.17857142856882402</c:v>
                </c:pt>
                <c:pt idx="311">
                  <c:v>0.19999999999763249</c:v>
                </c:pt>
                <c:pt idx="312">
                  <c:v>0.22580645161068599</c:v>
                </c:pt>
                <c:pt idx="313">
                  <c:v>0.21874999999783248</c:v>
                </c:pt>
                <c:pt idx="314">
                  <c:v>0.19444444444245781</c:v>
                </c:pt>
                <c:pt idx="315">
                  <c:v>0.21621621621433551</c:v>
                </c:pt>
                <c:pt idx="316">
                  <c:v>0.34374999999817929</c:v>
                </c:pt>
                <c:pt idx="317">
                  <c:v>0.31428571428397489</c:v>
                </c:pt>
                <c:pt idx="318">
                  <c:v>0.31578947368261195</c:v>
                </c:pt>
                <c:pt idx="319">
                  <c:v>0.30769230769073169</c:v>
                </c:pt>
                <c:pt idx="320">
                  <c:v>0.31578947368261195</c:v>
                </c:pt>
                <c:pt idx="321">
                  <c:v>0.27272727272580527</c:v>
                </c:pt>
                <c:pt idx="322">
                  <c:v>0.2499999999986128</c:v>
                </c:pt>
                <c:pt idx="323">
                  <c:v>0.22448979591696219</c:v>
                </c:pt>
                <c:pt idx="324">
                  <c:v>0.31249999999872841</c:v>
                </c:pt>
                <c:pt idx="325">
                  <c:v>0.31818181818044244</c:v>
                </c:pt>
                <c:pt idx="326">
                  <c:v>0.28260869565078933</c:v>
                </c:pt>
                <c:pt idx="327">
                  <c:v>0.25490196078301663</c:v>
                </c:pt>
                <c:pt idx="328">
                  <c:v>0.23529411764572761</c:v>
                </c:pt>
                <c:pt idx="329">
                  <c:v>0.23999999999865052</c:v>
                </c:pt>
                <c:pt idx="330">
                  <c:v>0.19607843137114953</c:v>
                </c:pt>
                <c:pt idx="331">
                  <c:v>0.16071428571320992</c:v>
                </c:pt>
                <c:pt idx="332">
                  <c:v>0.17543859649021701</c:v>
                </c:pt>
                <c:pt idx="333">
                  <c:v>0.21052631578857195</c:v>
                </c:pt>
                <c:pt idx="334">
                  <c:v>0.22641509433832679</c:v>
                </c:pt>
                <c:pt idx="335">
                  <c:v>0.2653061224476484</c:v>
                </c:pt>
                <c:pt idx="336">
                  <c:v>0.29999999999875704</c:v>
                </c:pt>
                <c:pt idx="337">
                  <c:v>0.27777777777704704</c:v>
                </c:pt>
                <c:pt idx="338">
                  <c:v>0.22916666666524091</c:v>
                </c:pt>
                <c:pt idx="339">
                  <c:v>0.22641509433832679</c:v>
                </c:pt>
                <c:pt idx="340">
                  <c:v>0.22641509433832679</c:v>
                </c:pt>
                <c:pt idx="341">
                  <c:v>0.27450980392030566</c:v>
                </c:pt>
                <c:pt idx="342">
                  <c:v>0.27450980392030566</c:v>
                </c:pt>
                <c:pt idx="343">
                  <c:v>0.25925925925846766</c:v>
                </c:pt>
                <c:pt idx="344">
                  <c:v>0.31999999999879253</c:v>
                </c:pt>
                <c:pt idx="345">
                  <c:v>0.35999999999886356</c:v>
                </c:pt>
                <c:pt idx="346">
                  <c:v>0.34042553191364772</c:v>
                </c:pt>
                <c:pt idx="347">
                  <c:v>0.32653061224367769</c:v>
                </c:pt>
                <c:pt idx="348">
                  <c:v>0.26923076922952155</c:v>
                </c:pt>
                <c:pt idx="349">
                  <c:v>0.25862068965443341</c:v>
                </c:pt>
                <c:pt idx="350">
                  <c:v>0.27586206896483101</c:v>
                </c:pt>
                <c:pt idx="351">
                  <c:v>0.28333333333269212</c:v>
                </c:pt>
                <c:pt idx="352">
                  <c:v>0.30769230769178235</c:v>
                </c:pt>
                <c:pt idx="353">
                  <c:v>0.33333333333290444</c:v>
                </c:pt>
                <c:pt idx="354">
                  <c:v>0.32835820895476897</c:v>
                </c:pt>
                <c:pt idx="355">
                  <c:v>0.32352941176424505</c:v>
                </c:pt>
                <c:pt idx="356">
                  <c:v>0.35593220338939691</c:v>
                </c:pt>
                <c:pt idx="357">
                  <c:v>0.30645161290267153</c:v>
                </c:pt>
                <c:pt idx="358">
                  <c:v>0.24637681159355024</c:v>
                </c:pt>
                <c:pt idx="359">
                  <c:v>0.1969696969688817</c:v>
                </c:pt>
                <c:pt idx="360">
                  <c:v>0.19354838709589656</c:v>
                </c:pt>
                <c:pt idx="361">
                  <c:v>0.19672131147452704</c:v>
                </c:pt>
                <c:pt idx="362">
                  <c:v>0.18965517241284297</c:v>
                </c:pt>
                <c:pt idx="363">
                  <c:v>0.14754098360553142</c:v>
                </c:pt>
                <c:pt idx="364">
                  <c:v>0.15254237288031022</c:v>
                </c:pt>
                <c:pt idx="365">
                  <c:v>0.17543859649021701</c:v>
                </c:pt>
                <c:pt idx="366">
                  <c:v>0.18032786885152849</c:v>
                </c:pt>
                <c:pt idx="367">
                  <c:v>0.18840579710064742</c:v>
                </c:pt>
                <c:pt idx="368">
                  <c:v>0.21428571428498952</c:v>
                </c:pt>
                <c:pt idx="369">
                  <c:v>0.22077922077857692</c:v>
                </c:pt>
                <c:pt idx="370">
                  <c:v>0.25274725274677029</c:v>
                </c:pt>
                <c:pt idx="371">
                  <c:v>0.26041666666622354</c:v>
                </c:pt>
                <c:pt idx="372">
                  <c:v>0.23469387755053969</c:v>
                </c:pt>
                <c:pt idx="373">
                  <c:v>0.22115384615337008</c:v>
                </c:pt>
                <c:pt idx="374">
                  <c:v>0.22549019607795351</c:v>
                </c:pt>
                <c:pt idx="375">
                  <c:v>0.22222222222194818</c:v>
                </c:pt>
                <c:pt idx="376">
                  <c:v>0.22807017543835056</c:v>
                </c:pt>
                <c:pt idx="377">
                  <c:v>0.23333333333311138</c:v>
                </c:pt>
                <c:pt idx="378">
                  <c:v>0.25190839694639938</c:v>
                </c:pt>
                <c:pt idx="379">
                  <c:v>0.26515151515137758</c:v>
                </c:pt>
                <c:pt idx="380">
                  <c:v>0.29850746268649797</c:v>
                </c:pt>
                <c:pt idx="381">
                  <c:v>0.25657894736828651</c:v>
                </c:pt>
                <c:pt idx="382">
                  <c:v>0.25165562913892875</c:v>
                </c:pt>
                <c:pt idx="383">
                  <c:v>0.25675675675661896</c:v>
                </c:pt>
                <c:pt idx="384">
                  <c:v>0.23448275862050807</c:v>
                </c:pt>
                <c:pt idx="385">
                  <c:v>0.21428571428548779</c:v>
                </c:pt>
                <c:pt idx="386">
                  <c:v>0.20567375886500711</c:v>
                </c:pt>
                <c:pt idx="387">
                  <c:v>0.1971830985912939</c:v>
                </c:pt>
                <c:pt idx="388">
                  <c:v>0.22627737226256558</c:v>
                </c:pt>
                <c:pt idx="389">
                  <c:v>0.23972602739708951</c:v>
                </c:pt>
                <c:pt idx="390">
                  <c:v>0.21476510067092899</c:v>
                </c:pt>
                <c:pt idx="391">
                  <c:v>0.19745222929913253</c:v>
                </c:pt>
                <c:pt idx="392">
                  <c:v>0.20779220779199065</c:v>
                </c:pt>
                <c:pt idx="393">
                  <c:v>0.19883040935661889</c:v>
                </c:pt>
                <c:pt idx="394">
                  <c:v>0.19230769230757974</c:v>
                </c:pt>
                <c:pt idx="395">
                  <c:v>0.17647058823515449</c:v>
                </c:pt>
                <c:pt idx="396">
                  <c:v>0.16062176165786662</c:v>
                </c:pt>
                <c:pt idx="397">
                  <c:v>0.19211822660088396</c:v>
                </c:pt>
                <c:pt idx="398">
                  <c:v>0.18534482758617885</c:v>
                </c:pt>
                <c:pt idx="399">
                  <c:v>0.21317829457332196</c:v>
                </c:pt>
                <c:pt idx="400">
                  <c:v>0.26545454545441399</c:v>
                </c:pt>
                <c:pt idx="401">
                  <c:v>0.2464788732392737</c:v>
                </c:pt>
                <c:pt idx="402">
                  <c:v>0.24092409240907847</c:v>
                </c:pt>
                <c:pt idx="403">
                  <c:v>0.25081433224741384</c:v>
                </c:pt>
                <c:pt idx="404">
                  <c:v>0.23659305993674595</c:v>
                </c:pt>
                <c:pt idx="405">
                  <c:v>0.26724137931031183</c:v>
                </c:pt>
                <c:pt idx="406">
                  <c:v>0.24728260869558727</c:v>
                </c:pt>
                <c:pt idx="407">
                  <c:v>0.19947506561670372</c:v>
                </c:pt>
                <c:pt idx="408">
                  <c:v>0.21999999999994671</c:v>
                </c:pt>
                <c:pt idx="409">
                  <c:v>0.21478060046188002</c:v>
                </c:pt>
                <c:pt idx="410">
                  <c:v>0.2038216560509242</c:v>
                </c:pt>
                <c:pt idx="411">
                  <c:v>0.20449897750512067</c:v>
                </c:pt>
                <c:pt idx="412">
                  <c:v>0.19136960600373798</c:v>
                </c:pt>
                <c:pt idx="413">
                  <c:v>0.17124394184168801</c:v>
                </c:pt>
                <c:pt idx="414">
                  <c:v>0.17612809315856903</c:v>
                </c:pt>
                <c:pt idx="415">
                  <c:v>0.16557161629428929</c:v>
                </c:pt>
                <c:pt idx="416">
                  <c:v>0.17443249701312</c:v>
                </c:pt>
                <c:pt idx="417">
                  <c:v>0.18161180476731867</c:v>
                </c:pt>
                <c:pt idx="418">
                  <c:v>0.18308351177723495</c:v>
                </c:pt>
                <c:pt idx="419">
                  <c:v>0.16601178781917969</c:v>
                </c:pt>
                <c:pt idx="420">
                  <c:v>0.16461267605630844</c:v>
                </c:pt>
                <c:pt idx="421">
                  <c:v>0.16840417000802221</c:v>
                </c:pt>
                <c:pt idx="422">
                  <c:v>0.16757599376461571</c:v>
                </c:pt>
                <c:pt idx="423">
                  <c:v>0.16452074391983967</c:v>
                </c:pt>
                <c:pt idx="424">
                  <c:v>0.16621438263227226</c:v>
                </c:pt>
                <c:pt idx="425">
                  <c:v>0.170360987967074</c:v>
                </c:pt>
                <c:pt idx="426">
                  <c:v>0.17119113573406317</c:v>
                </c:pt>
                <c:pt idx="427">
                  <c:v>0.16435541859271044</c:v>
                </c:pt>
                <c:pt idx="428">
                  <c:v>0.15998089780321512</c:v>
                </c:pt>
                <c:pt idx="429">
                  <c:v>0.15643906655141562</c:v>
                </c:pt>
                <c:pt idx="430">
                  <c:v>0.16236469608656887</c:v>
                </c:pt>
                <c:pt idx="431">
                  <c:v>0.16179415298356623</c:v>
                </c:pt>
                <c:pt idx="432">
                  <c:v>0.16452742123686925</c:v>
                </c:pt>
                <c:pt idx="433">
                  <c:v>0.17022872140980752</c:v>
                </c:pt>
                <c:pt idx="434">
                  <c:v>0.16985815602836885</c:v>
                </c:pt>
                <c:pt idx="435">
                  <c:v>0.16781056966366906</c:v>
                </c:pt>
                <c:pt idx="436">
                  <c:v>0.16699801192841526</c:v>
                </c:pt>
                <c:pt idx="437">
                  <c:v>0.1567770143660048</c:v>
                </c:pt>
                <c:pt idx="438">
                  <c:v>0.16036308623297879</c:v>
                </c:pt>
                <c:pt idx="439">
                  <c:v>0.16003562945365754</c:v>
                </c:pt>
                <c:pt idx="440">
                  <c:v>0.14712389380530982</c:v>
                </c:pt>
                <c:pt idx="441">
                  <c:v>0.14458154506435675</c:v>
                </c:pt>
                <c:pt idx="442">
                  <c:v>0.15310233682513424</c:v>
                </c:pt>
                <c:pt idx="443">
                  <c:v>0.15533230293661549</c:v>
                </c:pt>
                <c:pt idx="444">
                  <c:v>0.16021690904607513</c:v>
                </c:pt>
                <c:pt idx="445">
                  <c:v>0.15962554008640212</c:v>
                </c:pt>
                <c:pt idx="446">
                  <c:v>0.15915915915915696</c:v>
                </c:pt>
                <c:pt idx="447">
                  <c:v>0.16439909297051108</c:v>
                </c:pt>
                <c:pt idx="448">
                  <c:v>0.17095343680708272</c:v>
                </c:pt>
                <c:pt idx="449">
                  <c:v>0.16516830441145169</c:v>
                </c:pt>
                <c:pt idx="450">
                  <c:v>0.16608283535957347</c:v>
                </c:pt>
                <c:pt idx="451">
                  <c:v>0.16470826580225384</c:v>
                </c:pt>
                <c:pt idx="452">
                  <c:v>0.16412213740456702</c:v>
                </c:pt>
                <c:pt idx="453">
                  <c:v>0.16016096579476674</c:v>
                </c:pt>
                <c:pt idx="454">
                  <c:v>0.15936570862239807</c:v>
                </c:pt>
                <c:pt idx="455">
                  <c:v>0.15909090909090828</c:v>
                </c:pt>
                <c:pt idx="456">
                  <c:v>0.16268806419256224</c:v>
                </c:pt>
                <c:pt idx="457">
                  <c:v>0.15792598456362286</c:v>
                </c:pt>
                <c:pt idx="458">
                  <c:v>0.15911400121925784</c:v>
                </c:pt>
                <c:pt idx="459">
                  <c:v>0.1582317702953796</c:v>
                </c:pt>
                <c:pt idx="460">
                  <c:v>0.16135748490525872</c:v>
                </c:pt>
                <c:pt idx="461">
                  <c:v>0.16196424725393238</c:v>
                </c:pt>
                <c:pt idx="462">
                  <c:v>0.16582804637933046</c:v>
                </c:pt>
                <c:pt idx="463">
                  <c:v>0.16438053097344757</c:v>
                </c:pt>
                <c:pt idx="464">
                  <c:v>0.17084964310384196</c:v>
                </c:pt>
                <c:pt idx="465">
                  <c:v>0.17000230043707837</c:v>
                </c:pt>
                <c:pt idx="466">
                  <c:v>0.17454375292465998</c:v>
                </c:pt>
                <c:pt idx="467">
                  <c:v>0.17791706846672836</c:v>
                </c:pt>
                <c:pt idx="468">
                  <c:v>0.17579462102688095</c:v>
                </c:pt>
                <c:pt idx="469">
                  <c:v>0.1706220334748893</c:v>
                </c:pt>
                <c:pt idx="470">
                  <c:v>0.16818536839365003</c:v>
                </c:pt>
                <c:pt idx="471">
                  <c:v>0.16657710908113108</c:v>
                </c:pt>
                <c:pt idx="472">
                  <c:v>0.17104891150690893</c:v>
                </c:pt>
                <c:pt idx="473">
                  <c:v>0.1673995895631705</c:v>
                </c:pt>
                <c:pt idx="474">
                  <c:v>0.1661694510739716</c:v>
                </c:pt>
                <c:pt idx="475">
                  <c:v>0.18517350157728496</c:v>
                </c:pt>
                <c:pt idx="476">
                  <c:v>0.19129287598944308</c:v>
                </c:pt>
                <c:pt idx="477">
                  <c:v>0.1972508591065246</c:v>
                </c:pt>
                <c:pt idx="478">
                  <c:v>0.20776841333820598</c:v>
                </c:pt>
                <c:pt idx="479">
                  <c:v>0.21156211562114646</c:v>
                </c:pt>
                <c:pt idx="480">
                  <c:v>0.21072475911183663</c:v>
                </c:pt>
                <c:pt idx="481">
                  <c:v>0.2144989339018977</c:v>
                </c:pt>
                <c:pt idx="482">
                  <c:v>0.200598802395203</c:v>
                </c:pt>
                <c:pt idx="483">
                  <c:v>0.19885864793676916</c:v>
                </c:pt>
                <c:pt idx="484">
                  <c:v>0.19991075412759771</c:v>
                </c:pt>
                <c:pt idx="485">
                  <c:v>0.19428052655469674</c:v>
                </c:pt>
                <c:pt idx="486">
                  <c:v>0.1943950177935613</c:v>
                </c:pt>
                <c:pt idx="487">
                  <c:v>0.19846984698467193</c:v>
                </c:pt>
                <c:pt idx="488">
                  <c:v>0.19248608534322376</c:v>
                </c:pt>
                <c:pt idx="489">
                  <c:v>0.19595645412126289</c:v>
                </c:pt>
                <c:pt idx="490">
                  <c:v>0.19999999999999027</c:v>
                </c:pt>
                <c:pt idx="491">
                  <c:v>0.19586444572082273</c:v>
                </c:pt>
                <c:pt idx="492">
                  <c:v>0.20633971291863923</c:v>
                </c:pt>
                <c:pt idx="493">
                  <c:v>0.2041820418203816</c:v>
                </c:pt>
                <c:pt idx="494">
                  <c:v>0.20560747663546802</c:v>
                </c:pt>
                <c:pt idx="495">
                  <c:v>0.20464816010328871</c:v>
                </c:pt>
                <c:pt idx="496">
                  <c:v>0.21543859649121666</c:v>
                </c:pt>
                <c:pt idx="497">
                  <c:v>0.22222222222220761</c:v>
                </c:pt>
                <c:pt idx="498">
                  <c:v>0.23515052888522986</c:v>
                </c:pt>
                <c:pt idx="499">
                  <c:v>0.22108843537413939</c:v>
                </c:pt>
                <c:pt idx="500">
                  <c:v>0.21971066907772671</c:v>
                </c:pt>
                <c:pt idx="501">
                  <c:v>0.21083172146995205</c:v>
                </c:pt>
                <c:pt idx="502">
                  <c:v>0.20675944333995391</c:v>
                </c:pt>
                <c:pt idx="503">
                  <c:v>0.19825072886297074</c:v>
                </c:pt>
                <c:pt idx="504">
                  <c:v>0.17733990147777737</c:v>
                </c:pt>
                <c:pt idx="505">
                  <c:v>0.16911764705878693</c:v>
                </c:pt>
                <c:pt idx="506">
                  <c:v>0.15989628349175211</c:v>
                </c:pt>
                <c:pt idx="507">
                  <c:v>0.15182829888709728</c:v>
                </c:pt>
                <c:pt idx="508">
                  <c:v>0.15112781954885737</c:v>
                </c:pt>
                <c:pt idx="509">
                  <c:v>0.15212840195388749</c:v>
                </c:pt>
                <c:pt idx="510">
                  <c:v>0.13367281985996238</c:v>
                </c:pt>
                <c:pt idx="511">
                  <c:v>0.12815990593763676</c:v>
                </c:pt>
                <c:pt idx="512">
                  <c:v>0.11304347826086747</c:v>
                </c:pt>
                <c:pt idx="513">
                  <c:v>0.11346817957569753</c:v>
                </c:pt>
                <c:pt idx="514">
                  <c:v>0.11531531531530904</c:v>
                </c:pt>
                <c:pt idx="515">
                  <c:v>0.10929432013768633</c:v>
                </c:pt>
                <c:pt idx="516">
                  <c:v>0.11211871393236819</c:v>
                </c:pt>
                <c:pt idx="517">
                  <c:v>0.10926275992436763</c:v>
                </c:pt>
                <c:pt idx="518">
                  <c:v>0.10300136425647008</c:v>
                </c:pt>
                <c:pt idx="519">
                  <c:v>0.10324015247773803</c:v>
                </c:pt>
                <c:pt idx="520">
                  <c:v>9.8370734706424851E-2</c:v>
                </c:pt>
                <c:pt idx="521">
                  <c:v>9.3230403800471734E-2</c:v>
                </c:pt>
                <c:pt idx="522">
                  <c:v>9.7504352872876537E-2</c:v>
                </c:pt>
                <c:pt idx="523">
                  <c:v>9.5306651310085949E-2</c:v>
                </c:pt>
                <c:pt idx="524">
                  <c:v>9.2299290005443957E-2</c:v>
                </c:pt>
                <c:pt idx="525">
                  <c:v>9.3268450932670971E-2</c:v>
                </c:pt>
                <c:pt idx="526">
                  <c:v>9.6740273396421758E-2</c:v>
                </c:pt>
                <c:pt idx="527">
                  <c:v>9.9431818181798901E-2</c:v>
                </c:pt>
                <c:pt idx="528">
                  <c:v>0.10267627380338529</c:v>
                </c:pt>
                <c:pt idx="529">
                  <c:v>9.9274235355086671E-2</c:v>
                </c:pt>
                <c:pt idx="530">
                  <c:v>9.761163032191135E-2</c:v>
                </c:pt>
                <c:pt idx="531">
                  <c:v>9.9527310924347995E-2</c:v>
                </c:pt>
                <c:pt idx="532">
                  <c:v>0.10604827773255747</c:v>
                </c:pt>
                <c:pt idx="533">
                  <c:v>0.10442678774120047</c:v>
                </c:pt>
                <c:pt idx="534">
                  <c:v>0.10598943041690569</c:v>
                </c:pt>
                <c:pt idx="535">
                  <c:v>0.10360920970750792</c:v>
                </c:pt>
                <c:pt idx="536">
                  <c:v>0.10812539987202331</c:v>
                </c:pt>
                <c:pt idx="537">
                  <c:v>0.10834102800860734</c:v>
                </c:pt>
                <c:pt idx="538">
                  <c:v>0.11308562197090818</c:v>
                </c:pt>
                <c:pt idx="539">
                  <c:v>0.10931307793921127</c:v>
                </c:pt>
                <c:pt idx="540">
                  <c:v>0.11385816525698271</c:v>
                </c:pt>
                <c:pt idx="541">
                  <c:v>0.11254980079679219</c:v>
                </c:pt>
                <c:pt idx="542">
                  <c:v>0.11340916925195527</c:v>
                </c:pt>
                <c:pt idx="543">
                  <c:v>0.10903974674638775</c:v>
                </c:pt>
                <c:pt idx="544">
                  <c:v>0.11139149242969776</c:v>
                </c:pt>
                <c:pt idx="545">
                  <c:v>0.1095111784766744</c:v>
                </c:pt>
                <c:pt idx="546">
                  <c:v>0.11239537664405592</c:v>
                </c:pt>
                <c:pt idx="547">
                  <c:v>0.10576096302664197</c:v>
                </c:pt>
                <c:pt idx="548">
                  <c:v>0.10589318600365634</c:v>
                </c:pt>
                <c:pt idx="549">
                  <c:v>0.10606060606057423</c:v>
                </c:pt>
                <c:pt idx="550">
                  <c:v>0.10035122930255064</c:v>
                </c:pt>
                <c:pt idx="551">
                  <c:v>9.4350282485831244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procento_novych_JIP_znovych_hosp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53</c:f>
              <c:numCache>
                <c:formatCode>m/d/yyyy</c:formatCode>
                <c:ptCount val="55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</c:numCache>
            </c:numRef>
          </c:cat>
          <c:val>
            <c:numRef>
              <c:f>Sheet1!$B$2:$B$553</c:f>
              <c:numCache>
                <c:formatCode>0%</c:formatCode>
                <c:ptCount val="552"/>
                <c:pt idx="0">
                  <c:v>0.23840877915036032</c:v>
                </c:pt>
                <c:pt idx="1">
                  <c:v>0.28743961352743919</c:v>
                </c:pt>
                <c:pt idx="2">
                  <c:v>6.5846736045627366E-2</c:v>
                </c:pt>
                <c:pt idx="3">
                  <c:v>6.6630355846878001E-2</c:v>
                </c:pt>
                <c:pt idx="4">
                  <c:v>-0.1159159159155963</c:v>
                </c:pt>
                <c:pt idx="5">
                  <c:v>-6.1861861861399969E-2</c:v>
                </c:pt>
                <c:pt idx="6">
                  <c:v>-0.10059171597598777</c:v>
                </c:pt>
                <c:pt idx="7">
                  <c:v>-0.22511627906971163</c:v>
                </c:pt>
                <c:pt idx="8">
                  <c:v>-0.24231557377057714</c:v>
                </c:pt>
                <c:pt idx="9">
                  <c:v>-0.30765632309389573</c:v>
                </c:pt>
                <c:pt idx="10">
                  <c:v>-0.29830359109952215</c:v>
                </c:pt>
                <c:pt idx="11">
                  <c:v>-0.24150943396233376</c:v>
                </c:pt>
                <c:pt idx="12">
                  <c:v>-0.13800122125109576</c:v>
                </c:pt>
                <c:pt idx="13">
                  <c:v>-0.189164648910434</c:v>
                </c:pt>
                <c:pt idx="14">
                  <c:v>-0.16576859018289081</c:v>
                </c:pt>
                <c:pt idx="15">
                  <c:v>-0.13505104521130051</c:v>
                </c:pt>
                <c:pt idx="16">
                  <c:v>-0.19446922390677898</c:v>
                </c:pt>
                <c:pt idx="17">
                  <c:v>-2.6673924876310696E-2</c:v>
                </c:pt>
                <c:pt idx="18">
                  <c:v>3.9052890529528095E-2</c:v>
                </c:pt>
                <c:pt idx="19">
                  <c:v>0.12322635135184022</c:v>
                </c:pt>
                <c:pt idx="20">
                  <c:v>0.19139842994430337</c:v>
                </c:pt>
                <c:pt idx="21">
                  <c:v>0.32658715053159804</c:v>
                </c:pt>
                <c:pt idx="22">
                  <c:v>0.49816717528319621</c:v>
                </c:pt>
                <c:pt idx="23">
                  <c:v>0.39004322967476007</c:v>
                </c:pt>
                <c:pt idx="24">
                  <c:v>0.15386727688827145</c:v>
                </c:pt>
                <c:pt idx="25">
                  <c:v>5.7537193045351653E-2</c:v>
                </c:pt>
                <c:pt idx="26">
                  <c:v>-4.3703967320878154E-2</c:v>
                </c:pt>
                <c:pt idx="27">
                  <c:v>8.332443117817286E-4</c:v>
                </c:pt>
                <c:pt idx="28">
                  <c:v>-3.8348664578392207E-2</c:v>
                </c:pt>
                <c:pt idx="29">
                  <c:v>-7.5511425799241527E-2</c:v>
                </c:pt>
                <c:pt idx="30">
                  <c:v>-9.937452668797038E-2</c:v>
                </c:pt>
                <c:pt idx="31">
                  <c:v>-7.4064492366119908E-2</c:v>
                </c:pt>
                <c:pt idx="32">
                  <c:v>3.7766046589361356E-2</c:v>
                </c:pt>
                <c:pt idx="33">
                  <c:v>-2.117248752665217E-2</c:v>
                </c:pt>
                <c:pt idx="34">
                  <c:v>-1.6574881540290732E-2</c:v>
                </c:pt>
                <c:pt idx="35">
                  <c:v>8.6058230683137477E-2</c:v>
                </c:pt>
                <c:pt idx="36">
                  <c:v>6.2800539917366449E-2</c:v>
                </c:pt>
                <c:pt idx="37">
                  <c:v>3.0850356569010598E-2</c:v>
                </c:pt>
                <c:pt idx="38">
                  <c:v>-4.737271706972259E-2</c:v>
                </c:pt>
                <c:pt idx="39">
                  <c:v>-5.0644194394401189E-2</c:v>
                </c:pt>
                <c:pt idx="40">
                  <c:v>-2.2772994286509907E-2</c:v>
                </c:pt>
                <c:pt idx="41">
                  <c:v>-2.3291925466147499E-3</c:v>
                </c:pt>
                <c:pt idx="42">
                  <c:v>-7.310476342422921E-2</c:v>
                </c:pt>
                <c:pt idx="43">
                  <c:v>-8.8725689190651963E-2</c:v>
                </c:pt>
                <c:pt idx="44">
                  <c:v>-8.4172159818853134E-2</c:v>
                </c:pt>
                <c:pt idx="45">
                  <c:v>-0.16049947986112695</c:v>
                </c:pt>
                <c:pt idx="46">
                  <c:v>-0.19608484211505203</c:v>
                </c:pt>
                <c:pt idx="47">
                  <c:v>-0.14933917779102573</c:v>
                </c:pt>
                <c:pt idx="48">
                  <c:v>-0.16474889844453003</c:v>
                </c:pt>
                <c:pt idx="49">
                  <c:v>-0.13947576008513429</c:v>
                </c:pt>
                <c:pt idx="50">
                  <c:v>-0.1324360233058994</c:v>
                </c:pt>
                <c:pt idx="51">
                  <c:v>-0.13639975641027197</c:v>
                </c:pt>
                <c:pt idx="52">
                  <c:v>-0.12390528004840083</c:v>
                </c:pt>
                <c:pt idx="53">
                  <c:v>-6.1888570457090133E-2</c:v>
                </c:pt>
                <c:pt idx="54">
                  <c:v>-2.4611106828271823E-2</c:v>
                </c:pt>
                <c:pt idx="55">
                  <c:v>-7.606035374594337E-3</c:v>
                </c:pt>
                <c:pt idx="56">
                  <c:v>-2.5692253767898392E-2</c:v>
                </c:pt>
                <c:pt idx="57">
                  <c:v>-2.6394984938838528E-2</c:v>
                </c:pt>
                <c:pt idx="58">
                  <c:v>7.6441009651168146E-3</c:v>
                </c:pt>
                <c:pt idx="59">
                  <c:v>-1.9328520997465071E-2</c:v>
                </c:pt>
                <c:pt idx="60">
                  <c:v>-1.0552490981164521E-2</c:v>
                </c:pt>
                <c:pt idx="61">
                  <c:v>7.195297994287992E-3</c:v>
                </c:pt>
                <c:pt idx="62">
                  <c:v>6.9383791582360715E-3</c:v>
                </c:pt>
                <c:pt idx="63">
                  <c:v>3.1420771771174354E-2</c:v>
                </c:pt>
                <c:pt idx="64">
                  <c:v>1.2207424594021269E-2</c:v>
                </c:pt>
                <c:pt idx="65">
                  <c:v>5.5414889074404471E-2</c:v>
                </c:pt>
                <c:pt idx="66">
                  <c:v>6.5620815276121375E-2</c:v>
                </c:pt>
                <c:pt idx="67">
                  <c:v>2.4820512820546453E-2</c:v>
                </c:pt>
                <c:pt idx="68">
                  <c:v>4.6679553903285605E-2</c:v>
                </c:pt>
                <c:pt idx="69">
                  <c:v>4.8635647692115397E-2</c:v>
                </c:pt>
                <c:pt idx="70">
                  <c:v>4.1255765191161968E-2</c:v>
                </c:pt>
                <c:pt idx="71">
                  <c:v>3.7716499544140906E-2</c:v>
                </c:pt>
                <c:pt idx="72">
                  <c:v>3.7578967278237951E-2</c:v>
                </c:pt>
                <c:pt idx="73">
                  <c:v>-5.5340556692133502E-2</c:v>
                </c:pt>
                <c:pt idx="74">
                  <c:v>-4.2842078166650824E-2</c:v>
                </c:pt>
                <c:pt idx="75">
                  <c:v>-2.8816281069787938E-2</c:v>
                </c:pt>
                <c:pt idx="76">
                  <c:v>-2.0106749744526704E-2</c:v>
                </c:pt>
                <c:pt idx="77">
                  <c:v>1.2673933477184042E-2</c:v>
                </c:pt>
                <c:pt idx="78">
                  <c:v>-2.2630350045484533E-2</c:v>
                </c:pt>
                <c:pt idx="79">
                  <c:v>-7.7671734127726134E-3</c:v>
                </c:pt>
                <c:pt idx="80">
                  <c:v>4.5192352662955265E-2</c:v>
                </c:pt>
                <c:pt idx="81">
                  <c:v>8.9166330466790567E-2</c:v>
                </c:pt>
                <c:pt idx="82">
                  <c:v>0.18197188421649677</c:v>
                </c:pt>
                <c:pt idx="83">
                  <c:v>0.14196987002013256</c:v>
                </c:pt>
                <c:pt idx="84">
                  <c:v>7.463645320191678E-2</c:v>
                </c:pt>
                <c:pt idx="85">
                  <c:v>8.2597213576995898E-2</c:v>
                </c:pt>
                <c:pt idx="86">
                  <c:v>6.2293234259620918E-2</c:v>
                </c:pt>
                <c:pt idx="87">
                  <c:v>-4.0621605408641022E-2</c:v>
                </c:pt>
                <c:pt idx="88">
                  <c:v>-7.050744378931148E-2</c:v>
                </c:pt>
                <c:pt idx="89">
                  <c:v>-0.10300798626218378</c:v>
                </c:pt>
                <c:pt idx="90">
                  <c:v>-8.5101353576981453E-2</c:v>
                </c:pt>
                <c:pt idx="91">
                  <c:v>-5.5514312521562394E-2</c:v>
                </c:pt>
                <c:pt idx="92">
                  <c:v>-6.724178236900312E-2</c:v>
                </c:pt>
                <c:pt idx="93">
                  <c:v>-6.0986618101257585E-2</c:v>
                </c:pt>
                <c:pt idx="94">
                  <c:v>-0.10889794168095963</c:v>
                </c:pt>
                <c:pt idx="95">
                  <c:v>-0.11124811178242562</c:v>
                </c:pt>
                <c:pt idx="96">
                  <c:v>-1.4831683356886092E-2</c:v>
                </c:pt>
                <c:pt idx="97">
                  <c:v>6.5702776827239476E-2</c:v>
                </c:pt>
                <c:pt idx="98">
                  <c:v>2.0364487793258418E-2</c:v>
                </c:pt>
                <c:pt idx="99">
                  <c:v>-2.1928371481161269E-2</c:v>
                </c:pt>
                <c:pt idx="100">
                  <c:v>2.4866174488330853E-2</c:v>
                </c:pt>
                <c:pt idx="101">
                  <c:v>3.6616750086226044E-2</c:v>
                </c:pt>
                <c:pt idx="102">
                  <c:v>0.10617334930855354</c:v>
                </c:pt>
                <c:pt idx="103">
                  <c:v>7.9225923041264967E-2</c:v>
                </c:pt>
                <c:pt idx="104">
                  <c:v>2.6248718486678643E-2</c:v>
                </c:pt>
                <c:pt idx="105">
                  <c:v>1.3689170913827166E-4</c:v>
                </c:pt>
                <c:pt idx="106">
                  <c:v>5.2975495916035308E-2</c:v>
                </c:pt>
                <c:pt idx="107">
                  <c:v>2.1952047322407138E-2</c:v>
                </c:pt>
                <c:pt idx="108">
                  <c:v>-2.6516265427197233E-2</c:v>
                </c:pt>
                <c:pt idx="109">
                  <c:v>-3.3038584140238074E-2</c:v>
                </c:pt>
                <c:pt idx="110">
                  <c:v>1.1913655707323296E-2</c:v>
                </c:pt>
                <c:pt idx="111">
                  <c:v>6.1924375672588544E-2</c:v>
                </c:pt>
                <c:pt idx="112">
                  <c:v>4.0677002896503452E-2</c:v>
                </c:pt>
                <c:pt idx="113">
                  <c:v>-3.3326570429848094E-2</c:v>
                </c:pt>
                <c:pt idx="114">
                  <c:v>3.2838478548449096E-2</c:v>
                </c:pt>
                <c:pt idx="115">
                  <c:v>2.186688791257297E-2</c:v>
                </c:pt>
                <c:pt idx="116">
                  <c:v>1.3174834794196979E-2</c:v>
                </c:pt>
                <c:pt idx="117">
                  <c:v>2.8987686682973003E-2</c:v>
                </c:pt>
                <c:pt idx="118">
                  <c:v>-4.0240305785160316E-2</c:v>
                </c:pt>
                <c:pt idx="119">
                  <c:v>-4.6470940899761844E-2</c:v>
                </c:pt>
                <c:pt idx="120">
                  <c:v>-5.4829274172664623E-2</c:v>
                </c:pt>
                <c:pt idx="121">
                  <c:v>-8.4619600411212692E-2</c:v>
                </c:pt>
                <c:pt idx="122">
                  <c:v>-0.10407393669635219</c:v>
                </c:pt>
                <c:pt idx="123">
                  <c:v>-0.10814032091647025</c:v>
                </c:pt>
                <c:pt idx="124">
                  <c:v>-1.2558442522156755E-2</c:v>
                </c:pt>
                <c:pt idx="125">
                  <c:v>-2.8324074829581245E-2</c:v>
                </c:pt>
                <c:pt idx="126">
                  <c:v>-3.4169610901817811E-2</c:v>
                </c:pt>
                <c:pt idx="127">
                  <c:v>-6.9130510117404273E-2</c:v>
                </c:pt>
                <c:pt idx="128">
                  <c:v>-0.10306228242193533</c:v>
                </c:pt>
                <c:pt idx="129">
                  <c:v>-6.9294039473399474E-2</c:v>
                </c:pt>
                <c:pt idx="130">
                  <c:v>-2.8106916871915643E-2</c:v>
                </c:pt>
                <c:pt idx="131">
                  <c:v>3.3960769632846263E-2</c:v>
                </c:pt>
                <c:pt idx="132">
                  <c:v>5.6232798353431708E-2</c:v>
                </c:pt>
                <c:pt idx="133">
                  <c:v>7.0130591010601553E-2</c:v>
                </c:pt>
                <c:pt idx="134">
                  <c:v>0.10395355695953015</c:v>
                </c:pt>
                <c:pt idx="135">
                  <c:v>0.19128327951935301</c:v>
                </c:pt>
                <c:pt idx="136">
                  <c:v>0.18208636491190888</c:v>
                </c:pt>
                <c:pt idx="137">
                  <c:v>0.13434072173257211</c:v>
                </c:pt>
                <c:pt idx="138">
                  <c:v>0.15403835675134075</c:v>
                </c:pt>
                <c:pt idx="139">
                  <c:v>0.13301334146006816</c:v>
                </c:pt>
                <c:pt idx="140">
                  <c:v>0.12835393936575312</c:v>
                </c:pt>
                <c:pt idx="141">
                  <c:v>7.9218707748924186E-2</c:v>
                </c:pt>
                <c:pt idx="142">
                  <c:v>3.5418502202641436E-2</c:v>
                </c:pt>
                <c:pt idx="143">
                  <c:v>2.7896825621745211E-5</c:v>
                </c:pt>
                <c:pt idx="144">
                  <c:v>-1.9686672346230172E-2</c:v>
                </c:pt>
                <c:pt idx="145">
                  <c:v>1.2553153368307209E-2</c:v>
                </c:pt>
                <c:pt idx="146">
                  <c:v>2.642767479037147E-3</c:v>
                </c:pt>
                <c:pt idx="147">
                  <c:v>-3.2785407338451845E-2</c:v>
                </c:pt>
                <c:pt idx="148">
                  <c:v>-4.2609142973248804E-2</c:v>
                </c:pt>
                <c:pt idx="149">
                  <c:v>-2.7131312804621846E-2</c:v>
                </c:pt>
                <c:pt idx="150">
                  <c:v>-2.7380020672353057E-2</c:v>
                </c:pt>
                <c:pt idx="151">
                  <c:v>2.3404664698445408E-2</c:v>
                </c:pt>
                <c:pt idx="152">
                  <c:v>6.0782657786765046E-2</c:v>
                </c:pt>
                <c:pt idx="153">
                  <c:v>3.8572705962006022E-2</c:v>
                </c:pt>
                <c:pt idx="154">
                  <c:v>9.5350053703081597E-2</c:v>
                </c:pt>
                <c:pt idx="155">
                  <c:v>7.4037390151278373E-2</c:v>
                </c:pt>
                <c:pt idx="156">
                  <c:v>6.5307633518326913E-2</c:v>
                </c:pt>
                <c:pt idx="157">
                  <c:v>1.3022281680115887E-2</c:v>
                </c:pt>
                <c:pt idx="158">
                  <c:v>8.4436851411431348E-3</c:v>
                </c:pt>
                <c:pt idx="159">
                  <c:v>8.3937569244588645E-2</c:v>
                </c:pt>
                <c:pt idx="160">
                  <c:v>9.6519834993780848E-2</c:v>
                </c:pt>
                <c:pt idx="161">
                  <c:v>5.9171311539270535E-2</c:v>
                </c:pt>
                <c:pt idx="162">
                  <c:v>6.6001667028969369E-2</c:v>
                </c:pt>
                <c:pt idx="163">
                  <c:v>0.10417210403355293</c:v>
                </c:pt>
                <c:pt idx="164">
                  <c:v>7.8690130429917376E-2</c:v>
                </c:pt>
                <c:pt idx="165">
                  <c:v>5.3162528399885889E-2</c:v>
                </c:pt>
                <c:pt idx="166">
                  <c:v>5.6080693344692539E-2</c:v>
                </c:pt>
                <c:pt idx="167">
                  <c:v>2.1736222412742961E-2</c:v>
                </c:pt>
                <c:pt idx="168">
                  <c:v>2.2974101921438225E-2</c:v>
                </c:pt>
                <c:pt idx="169">
                  <c:v>-2.5123579797989213E-2</c:v>
                </c:pt>
                <c:pt idx="170">
                  <c:v>-4.2809439712714864E-2</c:v>
                </c:pt>
                <c:pt idx="171">
                  <c:v>-5.5877135436832238E-2</c:v>
                </c:pt>
                <c:pt idx="172">
                  <c:v>-4.0967103479244683E-2</c:v>
                </c:pt>
                <c:pt idx="173">
                  <c:v>5.0172412850352992E-4</c:v>
                </c:pt>
                <c:pt idx="174">
                  <c:v>-2.7545769910299656E-2</c:v>
                </c:pt>
                <c:pt idx="175">
                  <c:v>-5.3206556933395793E-2</c:v>
                </c:pt>
                <c:pt idx="176">
                  <c:v>-5.0184433402036391E-2</c:v>
                </c:pt>
                <c:pt idx="177">
                  <c:v>-3.7440809078679006E-2</c:v>
                </c:pt>
                <c:pt idx="178">
                  <c:v>-8.9294918632841253E-2</c:v>
                </c:pt>
                <c:pt idx="179">
                  <c:v>-6.8310902858631367E-2</c:v>
                </c:pt>
                <c:pt idx="180">
                  <c:v>-3.0753570069571846E-2</c:v>
                </c:pt>
                <c:pt idx="181">
                  <c:v>-1.1394413930672902E-2</c:v>
                </c:pt>
                <c:pt idx="182">
                  <c:v>-1.2242997547611535E-4</c:v>
                </c:pt>
                <c:pt idx="183">
                  <c:v>3.483537834914311E-2</c:v>
                </c:pt>
                <c:pt idx="184">
                  <c:v>7.2650169716198906E-2</c:v>
                </c:pt>
                <c:pt idx="185">
                  <c:v>9.1674109634932222E-2</c:v>
                </c:pt>
                <c:pt idx="186">
                  <c:v>6.6350603496356783E-2</c:v>
                </c:pt>
                <c:pt idx="187">
                  <c:v>7.2756482233249917E-2</c:v>
                </c:pt>
                <c:pt idx="188">
                  <c:v>7.7113965181047586E-2</c:v>
                </c:pt>
                <c:pt idx="189">
                  <c:v>5.5847907960542155E-2</c:v>
                </c:pt>
                <c:pt idx="190">
                  <c:v>2.0026185745190814E-2</c:v>
                </c:pt>
                <c:pt idx="191">
                  <c:v>1.6583132819637969E-3</c:v>
                </c:pt>
                <c:pt idx="192">
                  <c:v>-3.685315638339106E-2</c:v>
                </c:pt>
                <c:pt idx="193">
                  <c:v>-2.3706957859240308E-2</c:v>
                </c:pt>
                <c:pt idx="194">
                  <c:v>6.3162185262811005E-3</c:v>
                </c:pt>
                <c:pt idx="195">
                  <c:v>-8.3901583974368618E-4</c:v>
                </c:pt>
                <c:pt idx="196">
                  <c:v>-5.2736119642430327E-3</c:v>
                </c:pt>
                <c:pt idx="197">
                  <c:v>1.060193600814517E-2</c:v>
                </c:pt>
                <c:pt idx="198">
                  <c:v>1.8879699034241589E-2</c:v>
                </c:pt>
                <c:pt idx="199">
                  <c:v>4.5825942753557969E-3</c:v>
                </c:pt>
                <c:pt idx="200">
                  <c:v>6.8196615959296774E-3</c:v>
                </c:pt>
                <c:pt idx="201">
                  <c:v>1.7069673450702549E-2</c:v>
                </c:pt>
                <c:pt idx="202">
                  <c:v>-3.921889488879427E-3</c:v>
                </c:pt>
                <c:pt idx="203">
                  <c:v>-4.6487602762532269E-3</c:v>
                </c:pt>
                <c:pt idx="204">
                  <c:v>6.7413034679661924E-3</c:v>
                </c:pt>
                <c:pt idx="205">
                  <c:v>4.7315341182851016E-2</c:v>
                </c:pt>
                <c:pt idx="206">
                  <c:v>2.6464446877150681E-2</c:v>
                </c:pt>
                <c:pt idx="207">
                  <c:v>-5.6686297310323203E-3</c:v>
                </c:pt>
                <c:pt idx="208">
                  <c:v>4.1212448711548298E-2</c:v>
                </c:pt>
                <c:pt idx="209">
                  <c:v>3.1073534643529292E-2</c:v>
                </c:pt>
                <c:pt idx="210">
                  <c:v>1.2845639299540081E-2</c:v>
                </c:pt>
                <c:pt idx="211">
                  <c:v>-2.4967305751125917E-2</c:v>
                </c:pt>
                <c:pt idx="212">
                  <c:v>-4.2336746602976358E-2</c:v>
                </c:pt>
                <c:pt idx="213">
                  <c:v>-5.4344207750030286E-2</c:v>
                </c:pt>
                <c:pt idx="214">
                  <c:v>-3.8595256654056255E-2</c:v>
                </c:pt>
                <c:pt idx="215">
                  <c:v>-2.0027260249857046E-2</c:v>
                </c:pt>
                <c:pt idx="216">
                  <c:v>-1.166082608449859E-2</c:v>
                </c:pt>
                <c:pt idx="217">
                  <c:v>-8.9288172597429147E-2</c:v>
                </c:pt>
                <c:pt idx="218">
                  <c:v>-7.1058053965645851E-2</c:v>
                </c:pt>
                <c:pt idx="219">
                  <c:v>-1.9994513985984133E-2</c:v>
                </c:pt>
                <c:pt idx="220">
                  <c:v>-4.7716928498048969E-2</c:v>
                </c:pt>
                <c:pt idx="221">
                  <c:v>-1.2816012675167212E-2</c:v>
                </c:pt>
                <c:pt idx="222">
                  <c:v>1.666422725231714E-2</c:v>
                </c:pt>
                <c:pt idx="223">
                  <c:v>5.1202449370597126E-2</c:v>
                </c:pt>
                <c:pt idx="224">
                  <c:v>0.20306140842478101</c:v>
                </c:pt>
                <c:pt idx="225">
                  <c:v>0.18222597602903115</c:v>
                </c:pt>
                <c:pt idx="226">
                  <c:v>0.15849152628637161</c:v>
                </c:pt>
                <c:pt idx="227">
                  <c:v>0.16360945975443392</c:v>
                </c:pt>
                <c:pt idx="228">
                  <c:v>9.646794687827312E-2</c:v>
                </c:pt>
                <c:pt idx="229">
                  <c:v>0.11272644719923874</c:v>
                </c:pt>
                <c:pt idx="230">
                  <c:v>0.12809313528701066</c:v>
                </c:pt>
                <c:pt idx="231">
                  <c:v>-4.2181963438174493E-2</c:v>
                </c:pt>
                <c:pt idx="232">
                  <c:v>-7.4968146286040871E-2</c:v>
                </c:pt>
                <c:pt idx="233">
                  <c:v>-7.0566875039636809E-2</c:v>
                </c:pt>
                <c:pt idx="234">
                  <c:v>-0.11100883977258276</c:v>
                </c:pt>
                <c:pt idx="235">
                  <c:v>-7.4576227019870822E-2</c:v>
                </c:pt>
                <c:pt idx="236">
                  <c:v>-2.6907489802350373E-2</c:v>
                </c:pt>
                <c:pt idx="237">
                  <c:v>-5.6824742268152595E-2</c:v>
                </c:pt>
                <c:pt idx="238">
                  <c:v>-1.4727148993994767E-2</c:v>
                </c:pt>
                <c:pt idx="239">
                  <c:v>6.3272213459572249E-2</c:v>
                </c:pt>
                <c:pt idx="240">
                  <c:v>6.196264396702675E-3</c:v>
                </c:pt>
                <c:pt idx="241">
                  <c:v>2.5391173990349597E-2</c:v>
                </c:pt>
                <c:pt idx="242">
                  <c:v>-2.6918562157968208E-2</c:v>
                </c:pt>
                <c:pt idx="243">
                  <c:v>-6.0400883747565911E-3</c:v>
                </c:pt>
                <c:pt idx="244">
                  <c:v>-4.3761998036338123E-2</c:v>
                </c:pt>
                <c:pt idx="245">
                  <c:v>-5.8138728323698236E-2</c:v>
                </c:pt>
                <c:pt idx="246">
                  <c:v>-0.10285140456120305</c:v>
                </c:pt>
                <c:pt idx="247">
                  <c:v>-8.1618615132213829E-2</c:v>
                </c:pt>
                <c:pt idx="248">
                  <c:v>-8.6523464458361024E-2</c:v>
                </c:pt>
                <c:pt idx="249">
                  <c:v>-7.0618807861123276E-2</c:v>
                </c:pt>
                <c:pt idx="250">
                  <c:v>2.9689280265556332E-2</c:v>
                </c:pt>
                <c:pt idx="251">
                  <c:v>5.6999978674670056E-2</c:v>
                </c:pt>
                <c:pt idx="252">
                  <c:v>5.9144676979209963E-2</c:v>
                </c:pt>
                <c:pt idx="253">
                  <c:v>0.10329694791817257</c:v>
                </c:pt>
                <c:pt idx="254">
                  <c:v>9.7034339972816311E-2</c:v>
                </c:pt>
                <c:pt idx="255">
                  <c:v>0.15620951938064032</c:v>
                </c:pt>
                <c:pt idx="256">
                  <c:v>7.5260792129483389E-2</c:v>
                </c:pt>
                <c:pt idx="257">
                  <c:v>9.5673161056987352E-2</c:v>
                </c:pt>
                <c:pt idx="258">
                  <c:v>-2.4693919900619848E-2</c:v>
                </c:pt>
                <c:pt idx="259">
                  <c:v>-7.0642259546084885E-2</c:v>
                </c:pt>
                <c:pt idx="260">
                  <c:v>-4.0286244345628437E-4</c:v>
                </c:pt>
                <c:pt idx="261">
                  <c:v>-4.767737570270577E-2</c:v>
                </c:pt>
                <c:pt idx="262">
                  <c:v>-0.15041438225187065</c:v>
                </c:pt>
                <c:pt idx="263">
                  <c:v>-7.3058684054723697E-2</c:v>
                </c:pt>
                <c:pt idx="264">
                  <c:v>1.3947672181549964E-2</c:v>
                </c:pt>
                <c:pt idx="265">
                  <c:v>5.3358895257336454E-2</c:v>
                </c:pt>
                <c:pt idx="266">
                  <c:v>5.4163502910974479E-2</c:v>
                </c:pt>
                <c:pt idx="267">
                  <c:v>-2.7272965672487652E-2</c:v>
                </c:pt>
                <c:pt idx="268">
                  <c:v>6.8870523418818044E-3</c:v>
                </c:pt>
                <c:pt idx="269">
                  <c:v>-5.0311729738058204E-2</c:v>
                </c:pt>
                <c:pt idx="270">
                  <c:v>-0.17609837631388886</c:v>
                </c:pt>
                <c:pt idx="271">
                  <c:v>-0.15539294059830142</c:v>
                </c:pt>
                <c:pt idx="272">
                  <c:v>-0.20348837209355636</c:v>
                </c:pt>
                <c:pt idx="273">
                  <c:v>-0.19111570247998128</c:v>
                </c:pt>
                <c:pt idx="274">
                  <c:v>-0.15126835781038084</c:v>
                </c:pt>
                <c:pt idx="275">
                  <c:v>-4.6409266409171319E-2</c:v>
                </c:pt>
                <c:pt idx="276">
                  <c:v>2.8997990237138477E-2</c:v>
                </c:pt>
                <c:pt idx="277">
                  <c:v>8.5498556518798716E-2</c:v>
                </c:pt>
                <c:pt idx="278">
                  <c:v>8.1196581197230819E-2</c:v>
                </c:pt>
                <c:pt idx="279">
                  <c:v>0.25205389418401208</c:v>
                </c:pt>
                <c:pt idx="280">
                  <c:v>0.28117647058927897</c:v>
                </c:pt>
                <c:pt idx="281">
                  <c:v>0.25065387968684244</c:v>
                </c:pt>
                <c:pt idx="282">
                  <c:v>3.1457687195501079E-2</c:v>
                </c:pt>
                <c:pt idx="283">
                  <c:v>-0.15270935960611864</c:v>
                </c:pt>
                <c:pt idx="284">
                  <c:v>2.7196333079092506E-2</c:v>
                </c:pt>
                <c:pt idx="285">
                  <c:v>8.4033613430956697E-3</c:v>
                </c:pt>
                <c:pt idx="286">
                  <c:v>-0.17279821627788033</c:v>
                </c:pt>
                <c:pt idx="287">
                  <c:v>-0.30068649885835902</c:v>
                </c:pt>
                <c:pt idx="288">
                  <c:v>-0.29401993355752065</c:v>
                </c:pt>
                <c:pt idx="289">
                  <c:v>-0.21448863636617743</c:v>
                </c:pt>
                <c:pt idx="290">
                  <c:v>-4.3995243759169404E-2</c:v>
                </c:pt>
                <c:pt idx="291">
                  <c:v>-0.27756970453831287</c:v>
                </c:pt>
                <c:pt idx="292">
                  <c:v>-3.3989266549379185E-2</c:v>
                </c:pt>
                <c:pt idx="293">
                  <c:v>0.1007371007349132</c:v>
                </c:pt>
                <c:pt idx="294">
                  <c:v>-3.0701754387352193E-2</c:v>
                </c:pt>
                <c:pt idx="295">
                  <c:v>-0.16286149163190894</c:v>
                </c:pt>
                <c:pt idx="296">
                  <c:v>-0.1181818181849351</c:v>
                </c:pt>
                <c:pt idx="297">
                  <c:v>1.0319917397662709E-3</c:v>
                </c:pt>
                <c:pt idx="298">
                  <c:v>0.21874999999493827</c:v>
                </c:pt>
                <c:pt idx="299">
                  <c:v>-1.3081395355647112E-2</c:v>
                </c:pt>
                <c:pt idx="300">
                  <c:v>0.48214285713921612</c:v>
                </c:pt>
                <c:pt idx="301">
                  <c:v>1.35294117647151</c:v>
                </c:pt>
                <c:pt idx="302">
                  <c:v>1.4687500000035831</c:v>
                </c:pt>
                <c:pt idx="303">
                  <c:v>0.80451127819579493</c:v>
                </c:pt>
                <c:pt idx="304">
                  <c:v>0.58888888889137714</c:v>
                </c:pt>
                <c:pt idx="305">
                  <c:v>0.48648648648978665</c:v>
                </c:pt>
                <c:pt idx="306">
                  <c:v>0.65405405405759109</c:v>
                </c:pt>
                <c:pt idx="307">
                  <c:v>7.0135746605590771E-2</c:v>
                </c:pt>
                <c:pt idx="308">
                  <c:v>-0.17419354839053605</c:v>
                </c:pt>
                <c:pt idx="309">
                  <c:v>-0.38888888889292078</c:v>
                </c:pt>
                <c:pt idx="310">
                  <c:v>-0.5424107142908402</c:v>
                </c:pt>
                <c:pt idx="311">
                  <c:v>-0.3090909090951256</c:v>
                </c:pt>
                <c:pt idx="312">
                  <c:v>-0.24731182796048196</c:v>
                </c:pt>
                <c:pt idx="313">
                  <c:v>-0.34375000000372813</c:v>
                </c:pt>
                <c:pt idx="314">
                  <c:v>-0.398989898992758</c:v>
                </c:pt>
                <c:pt idx="315">
                  <c:v>9.0090090080529716E-3</c:v>
                </c:pt>
                <c:pt idx="316">
                  <c:v>0.37500000000416162</c:v>
                </c:pt>
                <c:pt idx="317">
                  <c:v>0.72857142858278912</c:v>
                </c:pt>
                <c:pt idx="318">
                  <c:v>0.48872180451861857</c:v>
                </c:pt>
                <c:pt idx="319">
                  <c:v>0.34615384615847578</c:v>
                </c:pt>
                <c:pt idx="320">
                  <c:v>0.43859649123186401</c:v>
                </c:pt>
                <c:pt idx="321">
                  <c:v>0.26136363636782106</c:v>
                </c:pt>
                <c:pt idx="322">
                  <c:v>-0.10416666666685932</c:v>
                </c:pt>
                <c:pt idx="323">
                  <c:v>-0.27040816326613593</c:v>
                </c:pt>
                <c:pt idx="324">
                  <c:v>3.3653846154565119E-2</c:v>
                </c:pt>
                <c:pt idx="325">
                  <c:v>2.7972027972430816E-2</c:v>
                </c:pt>
                <c:pt idx="326">
                  <c:v>-8.6956521739298118E-2</c:v>
                </c:pt>
                <c:pt idx="327">
                  <c:v>-3.5014005602648321E-2</c:v>
                </c:pt>
                <c:pt idx="328">
                  <c:v>-0.11312217194626903</c:v>
                </c:pt>
                <c:pt idx="329">
                  <c:v>-0.12000000000258049</c:v>
                </c:pt>
                <c:pt idx="330">
                  <c:v>-0.32598039216010949</c:v>
                </c:pt>
                <c:pt idx="331">
                  <c:v>-0.47767857143006121</c:v>
                </c:pt>
                <c:pt idx="332">
                  <c:v>-0.37343358396064985</c:v>
                </c:pt>
                <c:pt idx="333">
                  <c:v>-0.18796992481302879</c:v>
                </c:pt>
                <c:pt idx="334">
                  <c:v>6.7385444741723644E-2</c:v>
                </c:pt>
                <c:pt idx="335">
                  <c:v>0.12244897959024661</c:v>
                </c:pt>
                <c:pt idx="336">
                  <c:v>0.33846153846103638</c:v>
                </c:pt>
                <c:pt idx="337">
                  <c:v>0.23015873015977206</c:v>
                </c:pt>
                <c:pt idx="338">
                  <c:v>0.27083333333198462</c:v>
                </c:pt>
                <c:pt idx="339">
                  <c:v>0.18867924528165975</c:v>
                </c:pt>
                <c:pt idx="340">
                  <c:v>6.2409288822465728E-2</c:v>
                </c:pt>
                <c:pt idx="341">
                  <c:v>0.25490196078301647</c:v>
                </c:pt>
                <c:pt idx="342">
                  <c:v>-7.3529411766873998E-2</c:v>
                </c:pt>
                <c:pt idx="343">
                  <c:v>4.6296296292595738E-3</c:v>
                </c:pt>
                <c:pt idx="344">
                  <c:v>0.25866666666557908</c:v>
                </c:pt>
                <c:pt idx="345">
                  <c:v>0.49142857142875551</c:v>
                </c:pt>
                <c:pt idx="346">
                  <c:v>0.4346504559265813</c:v>
                </c:pt>
                <c:pt idx="347">
                  <c:v>0.19727891156337277</c:v>
                </c:pt>
                <c:pt idx="348">
                  <c:v>4.3269230767197159E-2</c:v>
                </c:pt>
                <c:pt idx="349">
                  <c:v>-0.10243407707968613</c:v>
                </c:pt>
                <c:pt idx="350">
                  <c:v>6.0851926976388301E-3</c:v>
                </c:pt>
                <c:pt idx="351">
                  <c:v>-0.13425925925974347</c:v>
                </c:pt>
                <c:pt idx="352">
                  <c:v>-7.6923076923215275E-2</c:v>
                </c:pt>
                <c:pt idx="353">
                  <c:v>1.8518518518943362E-2</c:v>
                </c:pt>
                <c:pt idx="354">
                  <c:v>4.3020193152459946E-2</c:v>
                </c:pt>
                <c:pt idx="355">
                  <c:v>0.31314878892894377</c:v>
                </c:pt>
                <c:pt idx="356">
                  <c:v>0.23639607493404027</c:v>
                </c:pt>
                <c:pt idx="357">
                  <c:v>4.1935483870987757E-2</c:v>
                </c:pt>
                <c:pt idx="358">
                  <c:v>-0.21607378129207425</c:v>
                </c:pt>
                <c:pt idx="359">
                  <c:v>-0.37626262626435786</c:v>
                </c:pt>
                <c:pt idx="360">
                  <c:v>-0.3951612903245178</c:v>
                </c:pt>
                <c:pt idx="361">
                  <c:v>-0.37562366357995752</c:v>
                </c:pt>
                <c:pt idx="362">
                  <c:v>-0.39942528735851207</c:v>
                </c:pt>
                <c:pt idx="363">
                  <c:v>-0.550962223808658</c:v>
                </c:pt>
                <c:pt idx="364">
                  <c:v>-0.42615012106817296</c:v>
                </c:pt>
                <c:pt idx="365">
                  <c:v>-0.25925925926160526</c:v>
                </c:pt>
                <c:pt idx="366">
                  <c:v>-0.17725409836233716</c:v>
                </c:pt>
                <c:pt idx="367">
                  <c:v>-2.8985507246451322E-2</c:v>
                </c:pt>
                <c:pt idx="368">
                  <c:v>0.14285714285856202</c:v>
                </c:pt>
                <c:pt idx="369">
                  <c:v>0.38488783943686899</c:v>
                </c:pt>
                <c:pt idx="370">
                  <c:v>0.60839160839743978</c:v>
                </c:pt>
                <c:pt idx="371">
                  <c:v>0.60590277778307311</c:v>
                </c:pt>
                <c:pt idx="372">
                  <c:v>0.32993197279275832</c:v>
                </c:pt>
                <c:pt idx="373">
                  <c:v>5.0480769231882501E-2</c:v>
                </c:pt>
                <c:pt idx="374">
                  <c:v>5.6985294118769736E-2</c:v>
                </c:pt>
                <c:pt idx="375">
                  <c:v>4.5751633988778725E-2</c:v>
                </c:pt>
                <c:pt idx="376">
                  <c:v>1.1441647598306841E-2</c:v>
                </c:pt>
                <c:pt idx="377">
                  <c:v>-9.2592592592006487E-2</c:v>
                </c:pt>
                <c:pt idx="378">
                  <c:v>9.4832648268201342E-2</c:v>
                </c:pt>
                <c:pt idx="379">
                  <c:v>0.21969696969784355</c:v>
                </c:pt>
                <c:pt idx="380">
                  <c:v>0.24733475479826783</c:v>
                </c:pt>
                <c:pt idx="381">
                  <c:v>8.3333333333796472E-2</c:v>
                </c:pt>
                <c:pt idx="382">
                  <c:v>0.11447492904496737</c:v>
                </c:pt>
                <c:pt idx="383">
                  <c:v>9.4992050874664113E-2</c:v>
                </c:pt>
                <c:pt idx="384">
                  <c:v>-8.1081081081275763E-2</c:v>
                </c:pt>
                <c:pt idx="385">
                  <c:v>-0.11309523809557365</c:v>
                </c:pt>
                <c:pt idx="386">
                  <c:v>-0.26055386693745364</c:v>
                </c:pt>
                <c:pt idx="387">
                  <c:v>-0.26056338028274728</c:v>
                </c:pt>
                <c:pt idx="388">
                  <c:v>-0.12182829336200483</c:v>
                </c:pt>
                <c:pt idx="389">
                  <c:v>-6.3926940639984511E-2</c:v>
                </c:pt>
                <c:pt idx="390">
                  <c:v>-0.10003195909316341</c:v>
                </c:pt>
                <c:pt idx="391">
                  <c:v>-0.16462518373433549</c:v>
                </c:pt>
                <c:pt idx="392">
                  <c:v>3.2467532467588586E-2</c:v>
                </c:pt>
                <c:pt idx="393">
                  <c:v>-8.5380116958746186E-2</c:v>
                </c:pt>
                <c:pt idx="394">
                  <c:v>-7.6923076923226946E-2</c:v>
                </c:pt>
                <c:pt idx="395">
                  <c:v>-0.27089783281744778</c:v>
                </c:pt>
                <c:pt idx="396">
                  <c:v>-0.2772020725394021</c:v>
                </c:pt>
                <c:pt idx="397">
                  <c:v>1.5482054891013328E-2</c:v>
                </c:pt>
                <c:pt idx="398">
                  <c:v>-0.12837837837819774</c:v>
                </c:pt>
                <c:pt idx="399">
                  <c:v>0.12510766580431545</c:v>
                </c:pt>
                <c:pt idx="400">
                  <c:v>0.30784922394667008</c:v>
                </c:pt>
                <c:pt idx="401">
                  <c:v>0.31249999999985745</c:v>
                </c:pt>
                <c:pt idx="402">
                  <c:v>0.35044293903073825</c:v>
                </c:pt>
                <c:pt idx="403">
                  <c:v>0.37320846905485505</c:v>
                </c:pt>
                <c:pt idx="404">
                  <c:v>0.37841174050141879</c:v>
                </c:pt>
                <c:pt idx="405">
                  <c:v>0.20477671000667738</c:v>
                </c:pt>
                <c:pt idx="406">
                  <c:v>-1.2351778652823727E-3</c:v>
                </c:pt>
                <c:pt idx="407">
                  <c:v>-0.18396564065843754</c:v>
                </c:pt>
                <c:pt idx="408">
                  <c:v>-5.7948717948554412E-2</c:v>
                </c:pt>
                <c:pt idx="409">
                  <c:v>-0.1277812200752752</c:v>
                </c:pt>
                <c:pt idx="410">
                  <c:v>-0.16772823779180812</c:v>
                </c:pt>
                <c:pt idx="411">
                  <c:v>-0.15541922290380442</c:v>
                </c:pt>
                <c:pt idx="412">
                  <c:v>-0.2784136874532791</c:v>
                </c:pt>
                <c:pt idx="413">
                  <c:v>-0.24163397184397536</c:v>
                </c:pt>
                <c:pt idx="414">
                  <c:v>-0.15764825011109559</c:v>
                </c:pt>
                <c:pt idx="415">
                  <c:v>-0.20820702306782168</c:v>
                </c:pt>
                <c:pt idx="416">
                  <c:v>-0.16770779996603782</c:v>
                </c:pt>
                <c:pt idx="417">
                  <c:v>-0.10891404202953932</c:v>
                </c:pt>
                <c:pt idx="418">
                  <c:v>-9.3232055843092604E-2</c:v>
                </c:pt>
                <c:pt idx="419">
                  <c:v>-7.1966891043146658E-2</c:v>
                </c:pt>
                <c:pt idx="420">
                  <c:v>-3.1614491637081271E-2</c:v>
                </c:pt>
                <c:pt idx="421">
                  <c:v>-2.7525215446493025E-2</c:v>
                </c:pt>
                <c:pt idx="422">
                  <c:v>-3.0377897714233208E-2</c:v>
                </c:pt>
                <c:pt idx="423">
                  <c:v>-9.2266360581469142E-2</c:v>
                </c:pt>
                <c:pt idx="424">
                  <c:v>-9.7693351424587599E-2</c:v>
                </c:pt>
                <c:pt idx="425">
                  <c:v>6.52053094845087E-3</c:v>
                </c:pt>
                <c:pt idx="426">
                  <c:v>6.270825805934209E-2</c:v>
                </c:pt>
                <c:pt idx="427">
                  <c:v>-2.1660202256086135E-2</c:v>
                </c:pt>
                <c:pt idx="428">
                  <c:v>-4.0114613180528773E-2</c:v>
                </c:pt>
                <c:pt idx="429">
                  <c:v>-7.3856933001663794E-2</c:v>
                </c:pt>
                <c:pt idx="430">
                  <c:v>-4.977709227538029E-2</c:v>
                </c:pt>
                <c:pt idx="431">
                  <c:v>-6.2594701270335701E-2</c:v>
                </c:pt>
                <c:pt idx="432">
                  <c:v>-5.205458392999521E-4</c:v>
                </c:pt>
                <c:pt idx="433">
                  <c:v>5.2755277098696728E-2</c:v>
                </c:pt>
                <c:pt idx="434">
                  <c:v>4.5521649869562697E-2</c:v>
                </c:pt>
                <c:pt idx="435">
                  <c:v>7.3901145554001971E-2</c:v>
                </c:pt>
                <c:pt idx="436">
                  <c:v>2.0289223562815362E-2</c:v>
                </c:pt>
                <c:pt idx="437">
                  <c:v>-5.405329534206104E-2</c:v>
                </c:pt>
                <c:pt idx="438">
                  <c:v>-4.8421174869083226E-2</c:v>
                </c:pt>
                <c:pt idx="439">
                  <c:v>-3.8861161836069705E-2</c:v>
                </c:pt>
                <c:pt idx="440">
                  <c:v>-0.10025936913378698</c:v>
                </c:pt>
                <c:pt idx="441">
                  <c:v>-0.12935047726262683</c:v>
                </c:pt>
                <c:pt idx="442">
                  <c:v>-6.351945859375753E-2</c:v>
                </c:pt>
                <c:pt idx="443">
                  <c:v>-4.2207045560365024E-2</c:v>
                </c:pt>
                <c:pt idx="444">
                  <c:v>-1.7336291184061148E-2</c:v>
                </c:pt>
                <c:pt idx="445">
                  <c:v>-3.4318338616260879E-2</c:v>
                </c:pt>
                <c:pt idx="446">
                  <c:v>5.4809586656740156E-2</c:v>
                </c:pt>
                <c:pt idx="447">
                  <c:v>0.15052546304005018</c:v>
                </c:pt>
                <c:pt idx="448">
                  <c:v>0.12428596175157812</c:v>
                </c:pt>
                <c:pt idx="449">
                  <c:v>7.6917036959972707E-2</c:v>
                </c:pt>
                <c:pt idx="450">
                  <c:v>5.5910623149393802E-2</c:v>
                </c:pt>
                <c:pt idx="451">
                  <c:v>2.3422806575699924E-3</c:v>
                </c:pt>
                <c:pt idx="452">
                  <c:v>6.2429341790786351E-3</c:v>
                </c:pt>
                <c:pt idx="453">
                  <c:v>2.39283366044734E-2</c:v>
                </c:pt>
                <c:pt idx="454">
                  <c:v>-3.033822359329039E-2</c:v>
                </c:pt>
                <c:pt idx="455">
                  <c:v>-6.0095908580723292E-2</c:v>
                </c:pt>
                <c:pt idx="456">
                  <c:v>-1.2571341367080779E-2</c:v>
                </c:pt>
                <c:pt idx="457">
                  <c:v>-4.3482553879596507E-2</c:v>
                </c:pt>
                <c:pt idx="458">
                  <c:v>-4.8272209100553361E-2</c:v>
                </c:pt>
                <c:pt idx="459">
                  <c:v>-2.9724200492950253E-2</c:v>
                </c:pt>
                <c:pt idx="460">
                  <c:v>2.8241453863508004E-2</c:v>
                </c:pt>
                <c:pt idx="461">
                  <c:v>1.3808639567930369E-2</c:v>
                </c:pt>
                <c:pt idx="462">
                  <c:v>2.2220363234195167E-2</c:v>
                </c:pt>
                <c:pt idx="463">
                  <c:v>3.7483679094698817E-2</c:v>
                </c:pt>
                <c:pt idx="464">
                  <c:v>7.3670918517555112E-2</c:v>
                </c:pt>
                <c:pt idx="465">
                  <c:v>5.3309184044571183E-2</c:v>
                </c:pt>
                <c:pt idx="466">
                  <c:v>8.7210911703263796E-2</c:v>
                </c:pt>
                <c:pt idx="467">
                  <c:v>0.1243956654626734</c:v>
                </c:pt>
                <c:pt idx="468">
                  <c:v>6.3167469145573044E-2</c:v>
                </c:pt>
                <c:pt idx="469">
                  <c:v>2.1200138708791491E-2</c:v>
                </c:pt>
                <c:pt idx="470">
                  <c:v>2.0443848657945355E-2</c:v>
                </c:pt>
                <c:pt idx="471">
                  <c:v>-1.8720058124177767E-2</c:v>
                </c:pt>
                <c:pt idx="472">
                  <c:v>-2.6194464092379112E-2</c:v>
                </c:pt>
                <c:pt idx="473">
                  <c:v>-6.2643560382861535E-2</c:v>
                </c:pt>
                <c:pt idx="474">
                  <c:v>-2.1825185475237232E-2</c:v>
                </c:pt>
                <c:pt idx="475">
                  <c:v>6.8976905401818195E-2</c:v>
                </c:pt>
                <c:pt idx="476">
                  <c:v>0.1299800384037105</c:v>
                </c:pt>
                <c:pt idx="477">
                  <c:v>0.18268668634417098</c:v>
                </c:pt>
                <c:pt idx="478">
                  <c:v>0.22423542013136519</c:v>
                </c:pt>
                <c:pt idx="479">
                  <c:v>0.21097772063697573</c:v>
                </c:pt>
                <c:pt idx="480">
                  <c:v>0.22519025297781925</c:v>
                </c:pt>
                <c:pt idx="481">
                  <c:v>0.23447616531746238</c:v>
                </c:pt>
                <c:pt idx="482">
                  <c:v>8.1619175955114392E-2</c:v>
                </c:pt>
                <c:pt idx="483">
                  <c:v>3.8315383120334383E-2</c:v>
                </c:pt>
                <c:pt idx="484">
                  <c:v>4.8503191498203661E-4</c:v>
                </c:pt>
                <c:pt idx="485">
                  <c:v>-6.8343792462675412E-2</c:v>
                </c:pt>
                <c:pt idx="486">
                  <c:v>-8.3467340349372809E-2</c:v>
                </c:pt>
                <c:pt idx="487">
                  <c:v>-8.0808080808143334E-2</c:v>
                </c:pt>
                <c:pt idx="488">
                  <c:v>-5.7796924625038118E-2</c:v>
                </c:pt>
                <c:pt idx="489">
                  <c:v>-5.2564358760549146E-3</c:v>
                </c:pt>
                <c:pt idx="490">
                  <c:v>5.3537284894778084E-3</c:v>
                </c:pt>
                <c:pt idx="491">
                  <c:v>-1.0451916799897152E-2</c:v>
                </c:pt>
                <c:pt idx="492">
                  <c:v>5.0573715047285216E-2</c:v>
                </c:pt>
                <c:pt idx="493">
                  <c:v>2.0069953785922478E-2</c:v>
                </c:pt>
                <c:pt idx="494">
                  <c:v>2.8037383177340058E-2</c:v>
                </c:pt>
                <c:pt idx="495">
                  <c:v>8.7936025323361561E-2</c:v>
                </c:pt>
                <c:pt idx="496">
                  <c:v>0.10102029266726947</c:v>
                </c:pt>
                <c:pt idx="497">
                  <c:v>0.13111651797784007</c:v>
                </c:pt>
                <c:pt idx="498">
                  <c:v>0.15908374617618559</c:v>
                </c:pt>
                <c:pt idx="499">
                  <c:v>7.5006626027182902E-2</c:v>
                </c:pt>
                <c:pt idx="500">
                  <c:v>3.4785077318770216E-2</c:v>
                </c:pt>
                <c:pt idx="501">
                  <c:v>2.268232217265927E-2</c:v>
                </c:pt>
                <c:pt idx="502">
                  <c:v>8.3142600977048776E-3</c:v>
                </c:pt>
                <c:pt idx="503">
                  <c:v>-8.726700953249826E-2</c:v>
                </c:pt>
                <c:pt idx="504">
                  <c:v>-0.20834193681611621</c:v>
                </c:pt>
                <c:pt idx="505">
                  <c:v>-0.25566691644824951</c:v>
                </c:pt>
                <c:pt idx="506">
                  <c:v>-0.26210407688951792</c:v>
                </c:pt>
                <c:pt idx="507">
                  <c:v>-0.31648618651962102</c:v>
                </c:pt>
                <c:pt idx="508">
                  <c:v>-0.2716028268094059</c:v>
                </c:pt>
                <c:pt idx="509">
                  <c:v>-0.23873451317326266</c:v>
                </c:pt>
                <c:pt idx="510">
                  <c:v>-0.28260307594786344</c:v>
                </c:pt>
                <c:pt idx="511">
                  <c:v>-0.27748383303938234</c:v>
                </c:pt>
                <c:pt idx="512">
                  <c:v>-0.29482401656316237</c:v>
                </c:pt>
                <c:pt idx="513">
                  <c:v>-0.26404750817258121</c:v>
                </c:pt>
                <c:pt idx="514">
                  <c:v>-0.26725649416214448</c:v>
                </c:pt>
                <c:pt idx="515">
                  <c:v>-0.28606886158972472</c:v>
                </c:pt>
                <c:pt idx="516">
                  <c:v>-0.18599990616572157</c:v>
                </c:pt>
                <c:pt idx="517">
                  <c:v>-0.1452324830606869</c:v>
                </c:pt>
                <c:pt idx="518">
                  <c:v>-0.13998047893164764</c:v>
                </c:pt>
                <c:pt idx="519">
                  <c:v>-9.3019129209177834E-2</c:v>
                </c:pt>
                <c:pt idx="520">
                  <c:v>-0.15401168152457462</c:v>
                </c:pt>
                <c:pt idx="521">
                  <c:v>-0.1905905851866663</c:v>
                </c:pt>
                <c:pt idx="522">
                  <c:v>-0.16030790848284909</c:v>
                </c:pt>
                <c:pt idx="523">
                  <c:v>-9.8645613162006374E-2</c:v>
                </c:pt>
                <c:pt idx="524">
                  <c:v>-0.10125288358860636</c:v>
                </c:pt>
                <c:pt idx="525">
                  <c:v>-7.4977771344708968E-2</c:v>
                </c:pt>
                <c:pt idx="526">
                  <c:v>-3.7329127234481847E-2</c:v>
                </c:pt>
                <c:pt idx="527">
                  <c:v>2.180339985200444E-2</c:v>
                </c:pt>
                <c:pt idx="528">
                  <c:v>4.0509015127797136E-2</c:v>
                </c:pt>
                <c:pt idx="529">
                  <c:v>-1.8461825242279111E-2</c:v>
                </c:pt>
                <c:pt idx="530">
                  <c:v>7.9080007266460653E-2</c:v>
                </c:pt>
                <c:pt idx="531">
                  <c:v>9.8618603451535808E-2</c:v>
                </c:pt>
                <c:pt idx="532">
                  <c:v>0.10679980554770392</c:v>
                </c:pt>
                <c:pt idx="533">
                  <c:v>7.013058652547928E-2</c:v>
                </c:pt>
                <c:pt idx="534">
                  <c:v>4.6882208917105136E-2</c:v>
                </c:pt>
                <c:pt idx="535">
                  <c:v>1.2660129174100465E-4</c:v>
                </c:pt>
                <c:pt idx="536">
                  <c:v>7.329227093871471E-2</c:v>
                </c:pt>
                <c:pt idx="537">
                  <c:v>0.15262815909178973</c:v>
                </c:pt>
                <c:pt idx="538">
                  <c:v>0.11260024486190771</c:v>
                </c:pt>
                <c:pt idx="539">
                  <c:v>5.603802710277906E-2</c:v>
                </c:pt>
                <c:pt idx="540">
                  <c:v>0.10711733523885279</c:v>
                </c:pt>
                <c:pt idx="541">
                  <c:v>9.2139874237851693E-2</c:v>
                </c:pt>
                <c:pt idx="542">
                  <c:v>5.1075054977902351E-2</c:v>
                </c:pt>
                <c:pt idx="543">
                  <c:v>1.1888849806605052E-2</c:v>
                </c:pt>
                <c:pt idx="544">
                  <c:v>6.2216480442076581E-2</c:v>
                </c:pt>
                <c:pt idx="545">
                  <c:v>2.5104206137508364E-3</c:v>
                </c:pt>
                <c:pt idx="546">
                  <c:v>8.7624849049793754E-3</c:v>
                </c:pt>
                <c:pt idx="547">
                  <c:v>-5.8888486366864355E-2</c:v>
                </c:pt>
                <c:pt idx="548">
                  <c:v>-5.5365547078286198E-2</c:v>
                </c:pt>
                <c:pt idx="549">
                  <c:v>-8.4714548803158526E-2</c:v>
                </c:pt>
                <c:pt idx="550">
                  <c:v>-0.1006423356382426</c:v>
                </c:pt>
                <c:pt idx="551">
                  <c:v>-0.11310734463306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C8-4E7B-83D3-5242563E84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HOSP_do_3_dne_7dni_shift3_100_000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53</c:f>
              <c:numCache>
                <c:formatCode>m/d/yyyy</c:formatCode>
                <c:ptCount val="55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</c:numCache>
            </c:numRef>
          </c:cat>
          <c:val>
            <c:numRef>
              <c:f>Sheet1!$B$2:$B$553</c:f>
              <c:numCache>
                <c:formatCode>#\ ##0.0</c:formatCode>
                <c:ptCount val="552"/>
                <c:pt idx="0">
                  <c:v>0.69147389999999997</c:v>
                </c:pt>
                <c:pt idx="1">
                  <c:v>0.83163750000000003</c:v>
                </c:pt>
                <c:pt idx="2">
                  <c:v>0.91573570000000004</c:v>
                </c:pt>
                <c:pt idx="3">
                  <c:v>1.0278666000000001</c:v>
                </c:pt>
                <c:pt idx="4">
                  <c:v>1.1493418</c:v>
                </c:pt>
                <c:pt idx="5">
                  <c:v>1.1960630000000001</c:v>
                </c:pt>
                <c:pt idx="6">
                  <c:v>1.2240956999999999</c:v>
                </c:pt>
                <c:pt idx="7">
                  <c:v>1.2334400000000001</c:v>
                </c:pt>
                <c:pt idx="8">
                  <c:v>1.5044230000000001</c:v>
                </c:pt>
                <c:pt idx="9">
                  <c:v>1.5791769</c:v>
                </c:pt>
                <c:pt idx="10">
                  <c:v>1.6539309</c:v>
                </c:pt>
                <c:pt idx="11">
                  <c:v>1.7193406</c:v>
                </c:pt>
                <c:pt idx="12">
                  <c:v>1.775406</c:v>
                </c:pt>
                <c:pt idx="13">
                  <c:v>1.8781927</c:v>
                </c:pt>
                <c:pt idx="14">
                  <c:v>1.9529466</c:v>
                </c:pt>
                <c:pt idx="15">
                  <c:v>2.2052412000000001</c:v>
                </c:pt>
                <c:pt idx="16">
                  <c:v>2.6163878999999999</c:v>
                </c:pt>
                <c:pt idx="17">
                  <c:v>2.9714691000000002</c:v>
                </c:pt>
                <c:pt idx="18">
                  <c:v>3.6629429999999998</c:v>
                </c:pt>
                <c:pt idx="19">
                  <c:v>3.8498279000000002</c:v>
                </c:pt>
                <c:pt idx="20">
                  <c:v>3.9899914999999999</c:v>
                </c:pt>
                <c:pt idx="21">
                  <c:v>4.1114667000000003</c:v>
                </c:pt>
                <c:pt idx="22">
                  <c:v>4.4104824000000002</c:v>
                </c:pt>
                <c:pt idx="23">
                  <c:v>4.8870388</c:v>
                </c:pt>
                <c:pt idx="24">
                  <c:v>4.9617927000000002</c:v>
                </c:pt>
                <c:pt idx="25">
                  <c:v>5.5411358000000002</c:v>
                </c:pt>
                <c:pt idx="26">
                  <c:v>5.5598242999999998</c:v>
                </c:pt>
                <c:pt idx="27">
                  <c:v>5.7280205999999998</c:v>
                </c:pt>
                <c:pt idx="28">
                  <c:v>5.9522824999999999</c:v>
                </c:pt>
                <c:pt idx="29">
                  <c:v>6.4849043000000002</c:v>
                </c:pt>
                <c:pt idx="30">
                  <c:v>7.2137551999999996</c:v>
                </c:pt>
                <c:pt idx="31">
                  <c:v>7.8024424999999997</c:v>
                </c:pt>
                <c:pt idx="32">
                  <c:v>8.5219491999999999</c:v>
                </c:pt>
                <c:pt idx="33">
                  <c:v>8.9985055000000003</c:v>
                </c:pt>
                <c:pt idx="34">
                  <c:v>9.0265383000000003</c:v>
                </c:pt>
                <c:pt idx="35">
                  <c:v>9.5404716000000001</c:v>
                </c:pt>
                <c:pt idx="36">
                  <c:v>11.128992800000001</c:v>
                </c:pt>
                <c:pt idx="37">
                  <c:v>12.3530886</c:v>
                </c:pt>
                <c:pt idx="38">
                  <c:v>13.8107904</c:v>
                </c:pt>
                <c:pt idx="39">
                  <c:v>14.978820799999999</c:v>
                </c:pt>
                <c:pt idx="40">
                  <c:v>16.427178399999999</c:v>
                </c:pt>
                <c:pt idx="41">
                  <c:v>16.8102923</c:v>
                </c:pt>
                <c:pt idx="42">
                  <c:v>17.894224399999999</c:v>
                </c:pt>
                <c:pt idx="43">
                  <c:v>19.781761400000001</c:v>
                </c:pt>
                <c:pt idx="44">
                  <c:v>21.220774800000001</c:v>
                </c:pt>
                <c:pt idx="45">
                  <c:v>22.7251978</c:v>
                </c:pt>
                <c:pt idx="46">
                  <c:v>23.6783106</c:v>
                </c:pt>
                <c:pt idx="47">
                  <c:v>25.117323899999999</c:v>
                </c:pt>
                <c:pt idx="48">
                  <c:v>25.7807651</c:v>
                </c:pt>
                <c:pt idx="49">
                  <c:v>27.116991800000001</c:v>
                </c:pt>
                <c:pt idx="50">
                  <c:v>30.5369846</c:v>
                </c:pt>
                <c:pt idx="51">
                  <c:v>32.704848900000002</c:v>
                </c:pt>
                <c:pt idx="52">
                  <c:v>35.835170099999999</c:v>
                </c:pt>
                <c:pt idx="53">
                  <c:v>37.956313199999997</c:v>
                </c:pt>
                <c:pt idx="54">
                  <c:v>40.189587199999998</c:v>
                </c:pt>
                <c:pt idx="55">
                  <c:v>41.479092600000001</c:v>
                </c:pt>
                <c:pt idx="56">
                  <c:v>42.310730200000002</c:v>
                </c:pt>
                <c:pt idx="57">
                  <c:v>46.123181199999998</c:v>
                </c:pt>
                <c:pt idx="58">
                  <c:v>47.721046700000002</c:v>
                </c:pt>
                <c:pt idx="59">
                  <c:v>47.992029700000003</c:v>
                </c:pt>
                <c:pt idx="60">
                  <c:v>47.889243</c:v>
                </c:pt>
                <c:pt idx="61">
                  <c:v>48.795634499999998</c:v>
                </c:pt>
                <c:pt idx="62">
                  <c:v>47.674325400000001</c:v>
                </c:pt>
                <c:pt idx="63">
                  <c:v>45.824165399999998</c:v>
                </c:pt>
                <c:pt idx="64">
                  <c:v>48.263012699999997</c:v>
                </c:pt>
                <c:pt idx="65">
                  <c:v>48.5339958</c:v>
                </c:pt>
                <c:pt idx="66">
                  <c:v>47.730390900000003</c:v>
                </c:pt>
                <c:pt idx="67">
                  <c:v>48.347110899999997</c:v>
                </c:pt>
                <c:pt idx="68">
                  <c:v>46.693179999999998</c:v>
                </c:pt>
                <c:pt idx="69">
                  <c:v>43.646956899999999</c:v>
                </c:pt>
                <c:pt idx="70">
                  <c:v>41.4230272</c:v>
                </c:pt>
                <c:pt idx="71">
                  <c:v>42.544336299999998</c:v>
                </c:pt>
                <c:pt idx="72">
                  <c:v>40.909093800000001</c:v>
                </c:pt>
                <c:pt idx="73">
                  <c:v>39.012212599999998</c:v>
                </c:pt>
                <c:pt idx="74">
                  <c:v>37.264839199999997</c:v>
                </c:pt>
                <c:pt idx="75">
                  <c:v>35.508121600000003</c:v>
                </c:pt>
                <c:pt idx="76">
                  <c:v>32.966487700000002</c:v>
                </c:pt>
                <c:pt idx="77">
                  <c:v>30.892065800000001</c:v>
                </c:pt>
                <c:pt idx="78">
                  <c:v>33.078618599999999</c:v>
                </c:pt>
                <c:pt idx="79">
                  <c:v>31.0322295</c:v>
                </c:pt>
                <c:pt idx="80">
                  <c:v>29.5745276</c:v>
                </c:pt>
                <c:pt idx="81">
                  <c:v>27.6776464</c:v>
                </c:pt>
                <c:pt idx="82">
                  <c:v>25.939617299999998</c:v>
                </c:pt>
                <c:pt idx="83">
                  <c:v>23.435360299999999</c:v>
                </c:pt>
                <c:pt idx="84">
                  <c:v>22.3981493</c:v>
                </c:pt>
                <c:pt idx="85">
                  <c:v>24.3791288</c:v>
                </c:pt>
                <c:pt idx="86">
                  <c:v>23.8558512</c:v>
                </c:pt>
                <c:pt idx="87">
                  <c:v>24.491259700000001</c:v>
                </c:pt>
                <c:pt idx="88">
                  <c:v>23.622245100000001</c:v>
                </c:pt>
                <c:pt idx="89">
                  <c:v>22.472903299999999</c:v>
                </c:pt>
                <c:pt idx="90">
                  <c:v>21.174053600000001</c:v>
                </c:pt>
                <c:pt idx="91">
                  <c:v>20.660120200000001</c:v>
                </c:pt>
                <c:pt idx="92">
                  <c:v>22.557001499999998</c:v>
                </c:pt>
                <c:pt idx="93">
                  <c:v>22.500935999999999</c:v>
                </c:pt>
                <c:pt idx="94">
                  <c:v>21.248807500000002</c:v>
                </c:pt>
                <c:pt idx="95">
                  <c:v>20.875037800000001</c:v>
                </c:pt>
                <c:pt idx="96">
                  <c:v>20.613399000000001</c:v>
                </c:pt>
                <c:pt idx="97">
                  <c:v>20.4078257</c:v>
                </c:pt>
                <c:pt idx="98">
                  <c:v>20.248973599999999</c:v>
                </c:pt>
                <c:pt idx="99">
                  <c:v>22.566345699999999</c:v>
                </c:pt>
                <c:pt idx="100">
                  <c:v>22.827984499999999</c:v>
                </c:pt>
                <c:pt idx="101">
                  <c:v>23.164377200000001</c:v>
                </c:pt>
                <c:pt idx="102">
                  <c:v>23.454048700000001</c:v>
                </c:pt>
                <c:pt idx="103">
                  <c:v>23.1830657</c:v>
                </c:pt>
                <c:pt idx="104">
                  <c:v>22.407493599999999</c:v>
                </c:pt>
                <c:pt idx="105">
                  <c:v>21.753396599999999</c:v>
                </c:pt>
                <c:pt idx="106">
                  <c:v>24.995848800000001</c:v>
                </c:pt>
                <c:pt idx="107">
                  <c:v>24.986504499999999</c:v>
                </c:pt>
                <c:pt idx="108">
                  <c:v>25.098635399999999</c:v>
                </c:pt>
                <c:pt idx="109">
                  <c:v>24.5099482</c:v>
                </c:pt>
                <c:pt idx="110">
                  <c:v>24.519292400000001</c:v>
                </c:pt>
                <c:pt idx="111">
                  <c:v>23.9212609</c:v>
                </c:pt>
                <c:pt idx="112">
                  <c:v>24.0053591</c:v>
                </c:pt>
                <c:pt idx="113">
                  <c:v>26.58437</c:v>
                </c:pt>
                <c:pt idx="114">
                  <c:v>25.902240299999999</c:v>
                </c:pt>
                <c:pt idx="115">
                  <c:v>26.014371199999999</c:v>
                </c:pt>
                <c:pt idx="116">
                  <c:v>24.0520803</c:v>
                </c:pt>
                <c:pt idx="117">
                  <c:v>23.2204427</c:v>
                </c:pt>
                <c:pt idx="118">
                  <c:v>23.145688700000001</c:v>
                </c:pt>
                <c:pt idx="119">
                  <c:v>24.603390600000001</c:v>
                </c:pt>
                <c:pt idx="120">
                  <c:v>28.733545800000002</c:v>
                </c:pt>
                <c:pt idx="121">
                  <c:v>30.7705907</c:v>
                </c:pt>
                <c:pt idx="122">
                  <c:v>32.854356799999998</c:v>
                </c:pt>
                <c:pt idx="123">
                  <c:v>33.779436799999999</c:v>
                </c:pt>
                <c:pt idx="124">
                  <c:v>34.723205299999996</c:v>
                </c:pt>
                <c:pt idx="125">
                  <c:v>36.769594400000003</c:v>
                </c:pt>
                <c:pt idx="126">
                  <c:v>37.638608900000001</c:v>
                </c:pt>
                <c:pt idx="127">
                  <c:v>40.2082756</c:v>
                </c:pt>
                <c:pt idx="128">
                  <c:v>41.4697484</c:v>
                </c:pt>
                <c:pt idx="129">
                  <c:v>41.236142299999997</c:v>
                </c:pt>
                <c:pt idx="130">
                  <c:v>40.4231932</c:v>
                </c:pt>
                <c:pt idx="131">
                  <c:v>40.254996900000002</c:v>
                </c:pt>
                <c:pt idx="132">
                  <c:v>41.2454866</c:v>
                </c:pt>
                <c:pt idx="133">
                  <c:v>39.367293799999999</c:v>
                </c:pt>
                <c:pt idx="134">
                  <c:v>40.367127799999999</c:v>
                </c:pt>
                <c:pt idx="135">
                  <c:v>39.348605300000003</c:v>
                </c:pt>
                <c:pt idx="136">
                  <c:v>36.152874400000002</c:v>
                </c:pt>
                <c:pt idx="137">
                  <c:v>33.433699799999999</c:v>
                </c:pt>
                <c:pt idx="138">
                  <c:v>31.761080400000001</c:v>
                </c:pt>
                <c:pt idx="139">
                  <c:v>29.396986999999999</c:v>
                </c:pt>
                <c:pt idx="140">
                  <c:v>27.5655155</c:v>
                </c:pt>
                <c:pt idx="141">
                  <c:v>29.331577299999999</c:v>
                </c:pt>
                <c:pt idx="142">
                  <c:v>28.453218499999998</c:v>
                </c:pt>
                <c:pt idx="143">
                  <c:v>27.163713000000001</c:v>
                </c:pt>
                <c:pt idx="144">
                  <c:v>26.509616099999999</c:v>
                </c:pt>
                <c:pt idx="145">
                  <c:v>26.556337299999999</c:v>
                </c:pt>
                <c:pt idx="146">
                  <c:v>25.238799100000001</c:v>
                </c:pt>
                <c:pt idx="147">
                  <c:v>24.865029400000001</c:v>
                </c:pt>
                <c:pt idx="148">
                  <c:v>26.659123900000001</c:v>
                </c:pt>
                <c:pt idx="149">
                  <c:v>26.135846399999998</c:v>
                </c:pt>
                <c:pt idx="150">
                  <c:v>25.481749400000002</c:v>
                </c:pt>
                <c:pt idx="151">
                  <c:v>25.2107663</c:v>
                </c:pt>
                <c:pt idx="152">
                  <c:v>24.799619700000001</c:v>
                </c:pt>
                <c:pt idx="153">
                  <c:v>23.341917800000001</c:v>
                </c:pt>
                <c:pt idx="154">
                  <c:v>23.080279000000001</c:v>
                </c:pt>
                <c:pt idx="155">
                  <c:v>25.818142099999999</c:v>
                </c:pt>
                <c:pt idx="156">
                  <c:v>26.051748199999999</c:v>
                </c:pt>
                <c:pt idx="157">
                  <c:v>25.640601499999999</c:v>
                </c:pt>
                <c:pt idx="158">
                  <c:v>25.463060899999999</c:v>
                </c:pt>
                <c:pt idx="159">
                  <c:v>25.435028200000001</c:v>
                </c:pt>
                <c:pt idx="160">
                  <c:v>24.519292400000001</c:v>
                </c:pt>
                <c:pt idx="161">
                  <c:v>24.650111800000001</c:v>
                </c:pt>
                <c:pt idx="162">
                  <c:v>26.247977299999999</c:v>
                </c:pt>
                <c:pt idx="163">
                  <c:v>25.874207599999998</c:v>
                </c:pt>
                <c:pt idx="164">
                  <c:v>25.6032245</c:v>
                </c:pt>
                <c:pt idx="165">
                  <c:v>25.6032245</c:v>
                </c:pt>
                <c:pt idx="166">
                  <c:v>25.322897300000001</c:v>
                </c:pt>
                <c:pt idx="167">
                  <c:v>24.1828997</c:v>
                </c:pt>
                <c:pt idx="168">
                  <c:v>24.0520803</c:v>
                </c:pt>
                <c:pt idx="169">
                  <c:v>26.836664599999999</c:v>
                </c:pt>
                <c:pt idx="170">
                  <c:v>28.565349399999999</c:v>
                </c:pt>
                <c:pt idx="171">
                  <c:v>28.546660899999999</c:v>
                </c:pt>
                <c:pt idx="172">
                  <c:v>28.976496099999999</c:v>
                </c:pt>
                <c:pt idx="173">
                  <c:v>29.873543399999999</c:v>
                </c:pt>
                <c:pt idx="174">
                  <c:v>29.66797</c:v>
                </c:pt>
                <c:pt idx="175">
                  <c:v>30.013707</c:v>
                </c:pt>
                <c:pt idx="176">
                  <c:v>33.499109500000003</c:v>
                </c:pt>
                <c:pt idx="177">
                  <c:v>34.0504198</c:v>
                </c:pt>
                <c:pt idx="178">
                  <c:v>33.770092499999997</c:v>
                </c:pt>
                <c:pt idx="179">
                  <c:v>34.872713099999999</c:v>
                </c:pt>
                <c:pt idx="180">
                  <c:v>35.386646499999998</c:v>
                </c:pt>
                <c:pt idx="181">
                  <c:v>34.199927700000003</c:v>
                </c:pt>
                <c:pt idx="182">
                  <c:v>33.8728792</c:v>
                </c:pt>
                <c:pt idx="183">
                  <c:v>37.6666417</c:v>
                </c:pt>
                <c:pt idx="184">
                  <c:v>38.077788300000002</c:v>
                </c:pt>
                <c:pt idx="185">
                  <c:v>37.619920499999999</c:v>
                </c:pt>
                <c:pt idx="186">
                  <c:v>37.087298599999997</c:v>
                </c:pt>
                <c:pt idx="187">
                  <c:v>35.844514400000001</c:v>
                </c:pt>
                <c:pt idx="188">
                  <c:v>34.760582200000002</c:v>
                </c:pt>
                <c:pt idx="189">
                  <c:v>34.470910699999997</c:v>
                </c:pt>
                <c:pt idx="190">
                  <c:v>37.049921699999999</c:v>
                </c:pt>
                <c:pt idx="191">
                  <c:v>35.433367699999998</c:v>
                </c:pt>
                <c:pt idx="192">
                  <c:v>34.078452499999997</c:v>
                </c:pt>
                <c:pt idx="193">
                  <c:v>33.125339799999999</c:v>
                </c:pt>
                <c:pt idx="194">
                  <c:v>34.498943400000002</c:v>
                </c:pt>
                <c:pt idx="195">
                  <c:v>33.330913099999997</c:v>
                </c:pt>
                <c:pt idx="196">
                  <c:v>32.190915500000003</c:v>
                </c:pt>
                <c:pt idx="197">
                  <c:v>34.760582200000002</c:v>
                </c:pt>
                <c:pt idx="198">
                  <c:v>34.480255</c:v>
                </c:pt>
                <c:pt idx="199">
                  <c:v>34.583041600000001</c:v>
                </c:pt>
                <c:pt idx="200">
                  <c:v>33.685994299999997</c:v>
                </c:pt>
                <c:pt idx="201">
                  <c:v>33.144028300000002</c:v>
                </c:pt>
                <c:pt idx="202">
                  <c:v>29.920264599999999</c:v>
                </c:pt>
                <c:pt idx="203">
                  <c:v>28.733545800000002</c:v>
                </c:pt>
                <c:pt idx="204">
                  <c:v>30.910754300000001</c:v>
                </c:pt>
                <c:pt idx="205">
                  <c:v>29.8828876</c:v>
                </c:pt>
                <c:pt idx="206">
                  <c:v>28.537316700000002</c:v>
                </c:pt>
                <c:pt idx="207">
                  <c:v>27.397319100000001</c:v>
                </c:pt>
                <c:pt idx="208">
                  <c:v>27.051582100000001</c:v>
                </c:pt>
                <c:pt idx="209">
                  <c:v>25.7994536</c:v>
                </c:pt>
                <c:pt idx="210">
                  <c:v>24.734210000000001</c:v>
                </c:pt>
                <c:pt idx="211">
                  <c:v>27.0609264</c:v>
                </c:pt>
                <c:pt idx="212">
                  <c:v>26.070436699999998</c:v>
                </c:pt>
                <c:pt idx="213">
                  <c:v>24.883717900000001</c:v>
                </c:pt>
                <c:pt idx="214">
                  <c:v>24.1642112</c:v>
                </c:pt>
                <c:pt idx="215">
                  <c:v>22.257985699999999</c:v>
                </c:pt>
                <c:pt idx="216">
                  <c:v>20.6227433</c:v>
                </c:pt>
                <c:pt idx="217">
                  <c:v>20.1274984</c:v>
                </c:pt>
                <c:pt idx="218">
                  <c:v>20.3891372</c:v>
                </c:pt>
                <c:pt idx="219">
                  <c:v>19.9032366</c:v>
                </c:pt>
                <c:pt idx="220">
                  <c:v>19.389303200000001</c:v>
                </c:pt>
                <c:pt idx="221">
                  <c:v>18.258649900000002</c:v>
                </c:pt>
                <c:pt idx="222">
                  <c:v>17.585864399999998</c:v>
                </c:pt>
                <c:pt idx="223">
                  <c:v>17.230783200000001</c:v>
                </c:pt>
                <c:pt idx="224">
                  <c:v>16.576686200000001</c:v>
                </c:pt>
                <c:pt idx="225">
                  <c:v>16.969144400000001</c:v>
                </c:pt>
                <c:pt idx="226">
                  <c:v>17.2868487</c:v>
                </c:pt>
                <c:pt idx="227">
                  <c:v>15.8571796</c:v>
                </c:pt>
                <c:pt idx="228">
                  <c:v>14.4835759</c:v>
                </c:pt>
                <c:pt idx="229">
                  <c:v>13.997675299999999</c:v>
                </c:pt>
                <c:pt idx="230">
                  <c:v>12.848333500000001</c:v>
                </c:pt>
                <c:pt idx="231">
                  <c:v>12.240957699999999</c:v>
                </c:pt>
                <c:pt idx="232">
                  <c:v>13.091283799999999</c:v>
                </c:pt>
                <c:pt idx="233">
                  <c:v>12.801612199999999</c:v>
                </c:pt>
                <c:pt idx="234">
                  <c:v>12.3437444</c:v>
                </c:pt>
                <c:pt idx="235">
                  <c:v>11.6148934</c:v>
                </c:pt>
                <c:pt idx="236">
                  <c:v>10.960796500000001</c:v>
                </c:pt>
                <c:pt idx="237">
                  <c:v>10.0637492</c:v>
                </c:pt>
                <c:pt idx="238">
                  <c:v>9.6806351999999993</c:v>
                </c:pt>
                <c:pt idx="239">
                  <c:v>10.4281746</c:v>
                </c:pt>
                <c:pt idx="240">
                  <c:v>9.9329298000000001</c:v>
                </c:pt>
                <c:pt idx="241">
                  <c:v>9.3255540000000003</c:v>
                </c:pt>
                <c:pt idx="242">
                  <c:v>8.7929321999999992</c:v>
                </c:pt>
                <c:pt idx="243">
                  <c:v>8.4658836999999991</c:v>
                </c:pt>
                <c:pt idx="244">
                  <c:v>8.2509660999999994</c:v>
                </c:pt>
                <c:pt idx="245">
                  <c:v>8.1762122000000002</c:v>
                </c:pt>
                <c:pt idx="246">
                  <c:v>8.7929321999999992</c:v>
                </c:pt>
                <c:pt idx="247">
                  <c:v>8.2416219000000002</c:v>
                </c:pt>
                <c:pt idx="248">
                  <c:v>7.8211310000000003</c:v>
                </c:pt>
                <c:pt idx="249">
                  <c:v>7.6249019000000002</c:v>
                </c:pt>
                <c:pt idx="250">
                  <c:v>7.1016243000000001</c:v>
                </c:pt>
                <c:pt idx="251">
                  <c:v>6.5035927999999998</c:v>
                </c:pt>
                <c:pt idx="252">
                  <c:v>6.1204787999999999</c:v>
                </c:pt>
                <c:pt idx="253">
                  <c:v>6.6250679000000003</c:v>
                </c:pt>
                <c:pt idx="254">
                  <c:v>6.2045769999999996</c:v>
                </c:pt>
                <c:pt idx="255">
                  <c:v>5.8401515000000002</c:v>
                </c:pt>
                <c:pt idx="256">
                  <c:v>5.4757261000000002</c:v>
                </c:pt>
                <c:pt idx="257">
                  <c:v>4.8683503000000004</c:v>
                </c:pt>
                <c:pt idx="258">
                  <c:v>4.6254</c:v>
                </c:pt>
                <c:pt idx="259">
                  <c:v>4.4572035999999997</c:v>
                </c:pt>
                <c:pt idx="260">
                  <c:v>4.5786787999999996</c:v>
                </c:pt>
                <c:pt idx="261">
                  <c:v>4.1114667000000003</c:v>
                </c:pt>
                <c:pt idx="262">
                  <c:v>3.7844182000000002</c:v>
                </c:pt>
                <c:pt idx="263">
                  <c:v>3.4947466999999999</c:v>
                </c:pt>
                <c:pt idx="264">
                  <c:v>3.1209769999999999</c:v>
                </c:pt>
                <c:pt idx="265">
                  <c:v>2.9247478999999998</c:v>
                </c:pt>
                <c:pt idx="266">
                  <c:v>2.7285187999999998</c:v>
                </c:pt>
                <c:pt idx="267">
                  <c:v>2.8313054000000002</c:v>
                </c:pt>
                <c:pt idx="268">
                  <c:v>2.6537647999999998</c:v>
                </c:pt>
                <c:pt idx="269">
                  <c:v>2.3827818000000001</c:v>
                </c:pt>
                <c:pt idx="270">
                  <c:v>2.1024544999999999</c:v>
                </c:pt>
                <c:pt idx="271">
                  <c:v>1.9529466</c:v>
                </c:pt>
                <c:pt idx="272">
                  <c:v>1.7567174999999999</c:v>
                </c:pt>
                <c:pt idx="273">
                  <c:v>1.6352424000000001</c:v>
                </c:pt>
                <c:pt idx="274">
                  <c:v>1.7847503</c:v>
                </c:pt>
                <c:pt idx="275">
                  <c:v>1.6445866</c:v>
                </c:pt>
                <c:pt idx="276">
                  <c:v>1.3922920999999999</c:v>
                </c:pt>
                <c:pt idx="277">
                  <c:v>1.1867188</c:v>
                </c:pt>
                <c:pt idx="278">
                  <c:v>1.1586860000000001</c:v>
                </c:pt>
                <c:pt idx="279">
                  <c:v>1.0185223999999999</c:v>
                </c:pt>
                <c:pt idx="280">
                  <c:v>0.97180120000000003</c:v>
                </c:pt>
                <c:pt idx="281">
                  <c:v>1.0091781</c:v>
                </c:pt>
                <c:pt idx="282">
                  <c:v>0.80360480000000001</c:v>
                </c:pt>
                <c:pt idx="283">
                  <c:v>0.72885089999999997</c:v>
                </c:pt>
                <c:pt idx="284">
                  <c:v>0.71016239999999997</c:v>
                </c:pt>
                <c:pt idx="285">
                  <c:v>0.63540839999999998</c:v>
                </c:pt>
                <c:pt idx="286">
                  <c:v>0.55131030000000003</c:v>
                </c:pt>
                <c:pt idx="287">
                  <c:v>0.49524479999999999</c:v>
                </c:pt>
                <c:pt idx="288">
                  <c:v>0.52327749999999995</c:v>
                </c:pt>
                <c:pt idx="289">
                  <c:v>0.47655629999999999</c:v>
                </c:pt>
                <c:pt idx="290">
                  <c:v>0.54196599999999995</c:v>
                </c:pt>
                <c:pt idx="291">
                  <c:v>0.50458899999999995</c:v>
                </c:pt>
                <c:pt idx="292">
                  <c:v>0.47655629999999999</c:v>
                </c:pt>
                <c:pt idx="293">
                  <c:v>0.42983510000000003</c:v>
                </c:pt>
                <c:pt idx="294">
                  <c:v>0.4018024</c:v>
                </c:pt>
                <c:pt idx="295">
                  <c:v>0.42983510000000003</c:v>
                </c:pt>
                <c:pt idx="296">
                  <c:v>0.39245809999999998</c:v>
                </c:pt>
                <c:pt idx="297">
                  <c:v>0.39245809999999998</c:v>
                </c:pt>
                <c:pt idx="298">
                  <c:v>0.27098299999999997</c:v>
                </c:pt>
                <c:pt idx="299">
                  <c:v>0.23360600000000001</c:v>
                </c:pt>
                <c:pt idx="300">
                  <c:v>0.20557329999999999</c:v>
                </c:pt>
                <c:pt idx="301">
                  <c:v>0.19622899999999999</c:v>
                </c:pt>
                <c:pt idx="302">
                  <c:v>0.23360600000000001</c:v>
                </c:pt>
                <c:pt idx="303">
                  <c:v>0.20557329999999999</c:v>
                </c:pt>
                <c:pt idx="304">
                  <c:v>0.21491750000000001</c:v>
                </c:pt>
                <c:pt idx="305">
                  <c:v>0.17754059999999999</c:v>
                </c:pt>
                <c:pt idx="306">
                  <c:v>0.18688479999999999</c:v>
                </c:pt>
                <c:pt idx="307">
                  <c:v>0.17754059999999999</c:v>
                </c:pt>
                <c:pt idx="308">
                  <c:v>0.16819629999999999</c:v>
                </c:pt>
                <c:pt idx="309">
                  <c:v>0.17754059999999999</c:v>
                </c:pt>
                <c:pt idx="310">
                  <c:v>0.1308193</c:v>
                </c:pt>
                <c:pt idx="311">
                  <c:v>0.16819629999999999</c:v>
                </c:pt>
                <c:pt idx="312">
                  <c:v>0.1495078</c:v>
                </c:pt>
                <c:pt idx="313">
                  <c:v>0.1588521</c:v>
                </c:pt>
                <c:pt idx="314">
                  <c:v>0.17754059999999999</c:v>
                </c:pt>
                <c:pt idx="315">
                  <c:v>0.19622899999999999</c:v>
                </c:pt>
                <c:pt idx="316">
                  <c:v>0.21491750000000001</c:v>
                </c:pt>
                <c:pt idx="317">
                  <c:v>0.21491750000000001</c:v>
                </c:pt>
                <c:pt idx="318">
                  <c:v>0.2616387</c:v>
                </c:pt>
                <c:pt idx="319">
                  <c:v>0.24295030000000001</c:v>
                </c:pt>
                <c:pt idx="320">
                  <c:v>0.2616387</c:v>
                </c:pt>
                <c:pt idx="321">
                  <c:v>0.25229449999999998</c:v>
                </c:pt>
                <c:pt idx="322">
                  <c:v>0.23360600000000001</c:v>
                </c:pt>
                <c:pt idx="323">
                  <c:v>0.27098299999999997</c:v>
                </c:pt>
                <c:pt idx="324">
                  <c:v>0.27098299999999997</c:v>
                </c:pt>
                <c:pt idx="325">
                  <c:v>0.2990157</c:v>
                </c:pt>
                <c:pt idx="326">
                  <c:v>0.28967150000000003</c:v>
                </c:pt>
                <c:pt idx="327">
                  <c:v>0.31770419999999999</c:v>
                </c:pt>
                <c:pt idx="328">
                  <c:v>0.2990157</c:v>
                </c:pt>
                <c:pt idx="329">
                  <c:v>0.2990157</c:v>
                </c:pt>
                <c:pt idx="330">
                  <c:v>0.35508119999999999</c:v>
                </c:pt>
                <c:pt idx="331">
                  <c:v>0.33639269999999999</c:v>
                </c:pt>
                <c:pt idx="332">
                  <c:v>0.34573690000000001</c:v>
                </c:pt>
                <c:pt idx="333">
                  <c:v>0.34573690000000001</c:v>
                </c:pt>
                <c:pt idx="334">
                  <c:v>0.35508119999999999</c:v>
                </c:pt>
                <c:pt idx="335">
                  <c:v>0.33639269999999999</c:v>
                </c:pt>
                <c:pt idx="336">
                  <c:v>0.32704840000000002</c:v>
                </c:pt>
                <c:pt idx="337">
                  <c:v>0.38311390000000001</c:v>
                </c:pt>
                <c:pt idx="338">
                  <c:v>0.33639269999999999</c:v>
                </c:pt>
                <c:pt idx="339">
                  <c:v>0.32704840000000002</c:v>
                </c:pt>
                <c:pt idx="340">
                  <c:v>0.31770419999999999</c:v>
                </c:pt>
                <c:pt idx="341">
                  <c:v>0.31770419999999999</c:v>
                </c:pt>
                <c:pt idx="342">
                  <c:v>0.2990157</c:v>
                </c:pt>
                <c:pt idx="343">
                  <c:v>0.2803272</c:v>
                </c:pt>
                <c:pt idx="344">
                  <c:v>0.31770419999999999</c:v>
                </c:pt>
                <c:pt idx="345">
                  <c:v>0.2803272</c:v>
                </c:pt>
                <c:pt idx="346">
                  <c:v>0.27098299999999997</c:v>
                </c:pt>
                <c:pt idx="347">
                  <c:v>0.2616387</c:v>
                </c:pt>
                <c:pt idx="348">
                  <c:v>0.2616387</c:v>
                </c:pt>
                <c:pt idx="349">
                  <c:v>0.25229449999999998</c:v>
                </c:pt>
                <c:pt idx="350">
                  <c:v>0.27098299999999997</c:v>
                </c:pt>
                <c:pt idx="351">
                  <c:v>0.31770419999999999</c:v>
                </c:pt>
                <c:pt idx="352">
                  <c:v>0.2990157</c:v>
                </c:pt>
                <c:pt idx="353">
                  <c:v>0.31770419999999999</c:v>
                </c:pt>
                <c:pt idx="354">
                  <c:v>0.30836000000000002</c:v>
                </c:pt>
                <c:pt idx="355">
                  <c:v>0.32704840000000002</c:v>
                </c:pt>
                <c:pt idx="356">
                  <c:v>0.32704840000000002</c:v>
                </c:pt>
                <c:pt idx="357">
                  <c:v>0.31770419999999999</c:v>
                </c:pt>
                <c:pt idx="358">
                  <c:v>0.31770419999999999</c:v>
                </c:pt>
                <c:pt idx="359">
                  <c:v>0.28967150000000003</c:v>
                </c:pt>
                <c:pt idx="360">
                  <c:v>0.28967150000000003</c:v>
                </c:pt>
                <c:pt idx="361">
                  <c:v>0.27098299999999997</c:v>
                </c:pt>
                <c:pt idx="362">
                  <c:v>0.28967150000000003</c:v>
                </c:pt>
                <c:pt idx="363">
                  <c:v>0.27098299999999997</c:v>
                </c:pt>
                <c:pt idx="364">
                  <c:v>0.2616387</c:v>
                </c:pt>
                <c:pt idx="365">
                  <c:v>0.27098299999999997</c:v>
                </c:pt>
                <c:pt idx="366">
                  <c:v>0.25229449999999998</c:v>
                </c:pt>
                <c:pt idx="367">
                  <c:v>0.2990157</c:v>
                </c:pt>
                <c:pt idx="368">
                  <c:v>0.31770419999999999</c:v>
                </c:pt>
                <c:pt idx="369">
                  <c:v>0.4018024</c:v>
                </c:pt>
                <c:pt idx="370">
                  <c:v>0.44852360000000002</c:v>
                </c:pt>
                <c:pt idx="371">
                  <c:v>0.46721210000000002</c:v>
                </c:pt>
                <c:pt idx="372">
                  <c:v>0.50458899999999995</c:v>
                </c:pt>
                <c:pt idx="373">
                  <c:v>0.57934300000000005</c:v>
                </c:pt>
                <c:pt idx="374">
                  <c:v>0.63540839999999998</c:v>
                </c:pt>
                <c:pt idx="375">
                  <c:v>0.69147389999999997</c:v>
                </c:pt>
                <c:pt idx="376">
                  <c:v>0.72885089999999997</c:v>
                </c:pt>
                <c:pt idx="377">
                  <c:v>0.67278539999999998</c:v>
                </c:pt>
                <c:pt idx="378">
                  <c:v>0.66344119999999995</c:v>
                </c:pt>
                <c:pt idx="379">
                  <c:v>0.81294909999999998</c:v>
                </c:pt>
                <c:pt idx="380">
                  <c:v>0.93442420000000004</c:v>
                </c:pt>
                <c:pt idx="381">
                  <c:v>0.95311270000000003</c:v>
                </c:pt>
                <c:pt idx="382">
                  <c:v>0.95311270000000003</c:v>
                </c:pt>
                <c:pt idx="383">
                  <c:v>1.0091781</c:v>
                </c:pt>
                <c:pt idx="384">
                  <c:v>0.96245689999999995</c:v>
                </c:pt>
                <c:pt idx="385">
                  <c:v>0.94376839999999995</c:v>
                </c:pt>
                <c:pt idx="386">
                  <c:v>1.1026206000000001</c:v>
                </c:pt>
                <c:pt idx="387">
                  <c:v>0.99048970000000003</c:v>
                </c:pt>
                <c:pt idx="388">
                  <c:v>0.87835870000000005</c:v>
                </c:pt>
                <c:pt idx="389">
                  <c:v>0.8596703</c:v>
                </c:pt>
                <c:pt idx="390">
                  <c:v>0.96245689999999995</c:v>
                </c:pt>
                <c:pt idx="391">
                  <c:v>0.85032600000000003</c:v>
                </c:pt>
                <c:pt idx="392">
                  <c:v>0.95311270000000003</c:v>
                </c:pt>
                <c:pt idx="393">
                  <c:v>1.1867188</c:v>
                </c:pt>
                <c:pt idx="394">
                  <c:v>1.0932763000000001</c:v>
                </c:pt>
                <c:pt idx="395">
                  <c:v>1.2427842</c:v>
                </c:pt>
                <c:pt idx="396">
                  <c:v>1.3922920999999999</c:v>
                </c:pt>
                <c:pt idx="397">
                  <c:v>1.4857345</c:v>
                </c:pt>
                <c:pt idx="398">
                  <c:v>1.4577017999999999</c:v>
                </c:pt>
                <c:pt idx="399">
                  <c:v>1.4763903</c:v>
                </c:pt>
                <c:pt idx="400">
                  <c:v>1.5698327000000001</c:v>
                </c:pt>
                <c:pt idx="401">
                  <c:v>1.6445866</c:v>
                </c:pt>
                <c:pt idx="402">
                  <c:v>1.9342581999999999</c:v>
                </c:pt>
                <c:pt idx="403">
                  <c:v>1.9809794000000001</c:v>
                </c:pt>
                <c:pt idx="404">
                  <c:v>2.0463890999999998</c:v>
                </c:pt>
                <c:pt idx="405">
                  <c:v>2.0183563000000002</c:v>
                </c:pt>
                <c:pt idx="406">
                  <c:v>2.0557333</c:v>
                </c:pt>
                <c:pt idx="407">
                  <c:v>2.5603224</c:v>
                </c:pt>
                <c:pt idx="408">
                  <c:v>2.7939284999999998</c:v>
                </c:pt>
                <c:pt idx="409">
                  <c:v>2.8499938999999999</c:v>
                </c:pt>
                <c:pt idx="410">
                  <c:v>2.8593381999999998</c:v>
                </c:pt>
                <c:pt idx="411">
                  <c:v>3.1490097000000001</c:v>
                </c:pt>
                <c:pt idx="412">
                  <c:v>3.2144194000000001</c:v>
                </c:pt>
                <c:pt idx="413">
                  <c:v>3.3826158</c:v>
                </c:pt>
                <c:pt idx="414">
                  <c:v>4.2235975999999997</c:v>
                </c:pt>
                <c:pt idx="415">
                  <c:v>4.6347443000000004</c:v>
                </c:pt>
                <c:pt idx="416">
                  <c:v>5.1299891000000004</c:v>
                </c:pt>
                <c:pt idx="417">
                  <c:v>5.5972011999999998</c:v>
                </c:pt>
                <c:pt idx="418">
                  <c:v>6.3260522000000003</c:v>
                </c:pt>
                <c:pt idx="419">
                  <c:v>6.3447405999999997</c:v>
                </c:pt>
                <c:pt idx="420">
                  <c:v>6.6250679000000003</c:v>
                </c:pt>
                <c:pt idx="421">
                  <c:v>8.0921140000000005</c:v>
                </c:pt>
                <c:pt idx="422">
                  <c:v>8.9798170000000006</c:v>
                </c:pt>
                <c:pt idx="423">
                  <c:v>9.6526025000000004</c:v>
                </c:pt>
                <c:pt idx="424">
                  <c:v>9.8114545999999994</c:v>
                </c:pt>
                <c:pt idx="425">
                  <c:v>10.8860425</c:v>
                </c:pt>
                <c:pt idx="426">
                  <c:v>11.0168619</c:v>
                </c:pt>
                <c:pt idx="427">
                  <c:v>11.764401299999999</c:v>
                </c:pt>
                <c:pt idx="428">
                  <c:v>14.3994777</c:v>
                </c:pt>
                <c:pt idx="429">
                  <c:v>15.343246199999999</c:v>
                </c:pt>
                <c:pt idx="430">
                  <c:v>16.3057032</c:v>
                </c:pt>
                <c:pt idx="431">
                  <c:v>17.0438984</c:v>
                </c:pt>
                <c:pt idx="432">
                  <c:v>18.454878999999998</c:v>
                </c:pt>
                <c:pt idx="433">
                  <c:v>18.025043799999999</c:v>
                </c:pt>
                <c:pt idx="434">
                  <c:v>18.333403799999999</c:v>
                </c:pt>
                <c:pt idx="435">
                  <c:v>21.117988100000002</c:v>
                </c:pt>
                <c:pt idx="436">
                  <c:v>21.594544500000001</c:v>
                </c:pt>
                <c:pt idx="437">
                  <c:v>22.697165099999999</c:v>
                </c:pt>
                <c:pt idx="438">
                  <c:v>22.8373287</c:v>
                </c:pt>
                <c:pt idx="439">
                  <c:v>23.5755239</c:v>
                </c:pt>
                <c:pt idx="440">
                  <c:v>23.6783106</c:v>
                </c:pt>
                <c:pt idx="441">
                  <c:v>24.238965100000001</c:v>
                </c:pt>
                <c:pt idx="442">
                  <c:v>27.986006400000001</c:v>
                </c:pt>
                <c:pt idx="443">
                  <c:v>28.995184600000002</c:v>
                </c:pt>
                <c:pt idx="444">
                  <c:v>28.144858500000002</c:v>
                </c:pt>
                <c:pt idx="445">
                  <c:v>28.584037899999998</c:v>
                </c:pt>
                <c:pt idx="446">
                  <c:v>30.8173119</c:v>
                </c:pt>
                <c:pt idx="447">
                  <c:v>30.705181</c:v>
                </c:pt>
                <c:pt idx="448">
                  <c:v>30.5369846</c:v>
                </c:pt>
                <c:pt idx="449">
                  <c:v>34.498943400000002</c:v>
                </c:pt>
                <c:pt idx="450">
                  <c:v>35.031565299999997</c:v>
                </c:pt>
                <c:pt idx="451">
                  <c:v>34.227960400000001</c:v>
                </c:pt>
                <c:pt idx="452">
                  <c:v>37.115331400000002</c:v>
                </c:pt>
                <c:pt idx="453">
                  <c:v>37.199429500000001</c:v>
                </c:pt>
                <c:pt idx="454">
                  <c:v>35.134351899999999</c:v>
                </c:pt>
                <c:pt idx="455">
                  <c:v>34.975499800000001</c:v>
                </c:pt>
                <c:pt idx="456">
                  <c:v>37.909592000000004</c:v>
                </c:pt>
                <c:pt idx="457">
                  <c:v>36.8910695</c:v>
                </c:pt>
                <c:pt idx="458">
                  <c:v>35.330581000000002</c:v>
                </c:pt>
                <c:pt idx="459">
                  <c:v>35.872547099999998</c:v>
                </c:pt>
                <c:pt idx="460">
                  <c:v>33.770092499999997</c:v>
                </c:pt>
                <c:pt idx="461">
                  <c:v>32.050751900000002</c:v>
                </c:pt>
                <c:pt idx="462">
                  <c:v>30.9668198</c:v>
                </c:pt>
                <c:pt idx="463">
                  <c:v>33.7420598</c:v>
                </c:pt>
                <c:pt idx="464">
                  <c:v>32.368456100000003</c:v>
                </c:pt>
                <c:pt idx="465">
                  <c:v>31.4527204</c:v>
                </c:pt>
                <c:pt idx="466">
                  <c:v>30.873377300000001</c:v>
                </c:pt>
                <c:pt idx="467">
                  <c:v>29.518462199999998</c:v>
                </c:pt>
                <c:pt idx="468">
                  <c:v>28.0233834</c:v>
                </c:pt>
                <c:pt idx="469">
                  <c:v>27.070270600000001</c:v>
                </c:pt>
                <c:pt idx="470">
                  <c:v>29.387642799999998</c:v>
                </c:pt>
                <c:pt idx="471">
                  <c:v>27.472073000000002</c:v>
                </c:pt>
                <c:pt idx="472">
                  <c:v>26.472239099999999</c:v>
                </c:pt>
                <c:pt idx="473">
                  <c:v>25.463060899999999</c:v>
                </c:pt>
                <c:pt idx="474">
                  <c:v>23.9866706</c:v>
                </c:pt>
                <c:pt idx="475">
                  <c:v>21.921593000000001</c:v>
                </c:pt>
                <c:pt idx="476">
                  <c:v>21.080611099999999</c:v>
                </c:pt>
                <c:pt idx="477">
                  <c:v>22.603722699999999</c:v>
                </c:pt>
                <c:pt idx="478">
                  <c:v>20.921759000000002</c:v>
                </c:pt>
                <c:pt idx="479">
                  <c:v>19.379958999999999</c:v>
                </c:pt>
                <c:pt idx="480">
                  <c:v>17.763404999999999</c:v>
                </c:pt>
                <c:pt idx="481">
                  <c:v>15.4366886</c:v>
                </c:pt>
                <c:pt idx="482">
                  <c:v>14.3527565</c:v>
                </c:pt>
                <c:pt idx="483">
                  <c:v>14.1378389</c:v>
                </c:pt>
                <c:pt idx="484">
                  <c:v>15.7917699</c:v>
                </c:pt>
                <c:pt idx="485">
                  <c:v>15.1563614</c:v>
                </c:pt>
                <c:pt idx="486">
                  <c:v>14.642428000000001</c:v>
                </c:pt>
                <c:pt idx="487">
                  <c:v>13.997675299999999</c:v>
                </c:pt>
                <c:pt idx="488">
                  <c:v>13.820134700000001</c:v>
                </c:pt>
                <c:pt idx="489">
                  <c:v>13.866855899999999</c:v>
                </c:pt>
                <c:pt idx="490">
                  <c:v>13.6612826</c:v>
                </c:pt>
                <c:pt idx="491">
                  <c:v>14.4648874</c:v>
                </c:pt>
                <c:pt idx="492">
                  <c:v>13.3342341</c:v>
                </c:pt>
                <c:pt idx="493">
                  <c:v>12.371777099999999</c:v>
                </c:pt>
                <c:pt idx="494">
                  <c:v>11.250468</c:v>
                </c:pt>
                <c:pt idx="495">
                  <c:v>10.7271904</c:v>
                </c:pt>
                <c:pt idx="496">
                  <c:v>10.306699500000001</c:v>
                </c:pt>
                <c:pt idx="497">
                  <c:v>10.1945686</c:v>
                </c:pt>
                <c:pt idx="498">
                  <c:v>10.437518900000001</c:v>
                </c:pt>
                <c:pt idx="499">
                  <c:v>9.5685043000000007</c:v>
                </c:pt>
                <c:pt idx="500">
                  <c:v>8.5873588999999999</c:v>
                </c:pt>
                <c:pt idx="501">
                  <c:v>7.7370327999999997</c:v>
                </c:pt>
                <c:pt idx="502">
                  <c:v>7.4006400000000001</c:v>
                </c:pt>
                <c:pt idx="503">
                  <c:v>6.8960509999999999</c:v>
                </c:pt>
                <c:pt idx="504">
                  <c:v>6.5596582000000003</c:v>
                </c:pt>
                <c:pt idx="505">
                  <c:v>7.4099842999999996</c:v>
                </c:pt>
                <c:pt idx="506">
                  <c:v>7.5314594000000001</c:v>
                </c:pt>
                <c:pt idx="507">
                  <c:v>7.9706387999999997</c:v>
                </c:pt>
                <c:pt idx="508">
                  <c:v>8.6901454999999999</c:v>
                </c:pt>
                <c:pt idx="509">
                  <c:v>9.5965369999999997</c:v>
                </c:pt>
                <c:pt idx="510">
                  <c:v>9.9048970999999995</c:v>
                </c:pt>
                <c:pt idx="511">
                  <c:v>10.540305500000001</c:v>
                </c:pt>
                <c:pt idx="512">
                  <c:v>12.8389892</c:v>
                </c:pt>
                <c:pt idx="513">
                  <c:v>13.9696426</c:v>
                </c:pt>
                <c:pt idx="514">
                  <c:v>15.810458300000001</c:v>
                </c:pt>
                <c:pt idx="515">
                  <c:v>16.754226800000001</c:v>
                </c:pt>
                <c:pt idx="516">
                  <c:v>18.258649900000002</c:v>
                </c:pt>
                <c:pt idx="517">
                  <c:v>18.127830500000002</c:v>
                </c:pt>
                <c:pt idx="518">
                  <c:v>19.529466899999999</c:v>
                </c:pt>
                <c:pt idx="519">
                  <c:v>22.6597881</c:v>
                </c:pt>
                <c:pt idx="520">
                  <c:v>24.650111800000001</c:v>
                </c:pt>
                <c:pt idx="521">
                  <c:v>26.1078136</c:v>
                </c:pt>
                <c:pt idx="522">
                  <c:v>26.7805991</c:v>
                </c:pt>
                <c:pt idx="523">
                  <c:v>27.817810000000001</c:v>
                </c:pt>
                <c:pt idx="524">
                  <c:v>27.4814173</c:v>
                </c:pt>
                <c:pt idx="525">
                  <c:v>28.1542028</c:v>
                </c:pt>
                <c:pt idx="526">
                  <c:v>31.5368186</c:v>
                </c:pt>
                <c:pt idx="527">
                  <c:v>31.854522800000002</c:v>
                </c:pt>
                <c:pt idx="528">
                  <c:v>31.910588300000001</c:v>
                </c:pt>
                <c:pt idx="529">
                  <c:v>31.705014899999998</c:v>
                </c:pt>
                <c:pt idx="530">
                  <c:v>31.742391900000001</c:v>
                </c:pt>
                <c:pt idx="531">
                  <c:v>30.4061652</c:v>
                </c:pt>
                <c:pt idx="532">
                  <c:v>29.7333797</c:v>
                </c:pt>
                <c:pt idx="533">
                  <c:v>32.882389500000002</c:v>
                </c:pt>
                <c:pt idx="534">
                  <c:v>31.359277899999999</c:v>
                </c:pt>
                <c:pt idx="535">
                  <c:v>30.714525200000001</c:v>
                </c:pt>
                <c:pt idx="536">
                  <c:v>29.200757899999999</c:v>
                </c:pt>
                <c:pt idx="537">
                  <c:v>28.228956700000001</c:v>
                </c:pt>
                <c:pt idx="538">
                  <c:v>26.3694524</c:v>
                </c:pt>
                <c:pt idx="539">
                  <c:v>26.3881409</c:v>
                </c:pt>
                <c:pt idx="540">
                  <c:v>29.107315499999999</c:v>
                </c:pt>
                <c:pt idx="541">
                  <c:v>26.986172400000001</c:v>
                </c:pt>
                <c:pt idx="542">
                  <c:v>25.5378148</c:v>
                </c:pt>
                <c:pt idx="543">
                  <c:v>24.1361785</c:v>
                </c:pt>
                <c:pt idx="544">
                  <c:v>22.8373287</c:v>
                </c:pt>
                <c:pt idx="545">
                  <c:v>21.463725100000001</c:v>
                </c:pt>
                <c:pt idx="546">
                  <c:v>20.762906900000001</c:v>
                </c:pt>
                <c:pt idx="547">
                  <c:v>22.444870600000002</c:v>
                </c:pt>
                <c:pt idx="548">
                  <c:v>20.4919239</c:v>
                </c:pt>
                <c:pt idx="549">
                  <c:v>18.996845100000002</c:v>
                </c:pt>
                <c:pt idx="550">
                  <c:v>17.7353723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HOSP_do_3_dne_7dni_shift3_100_000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53</c:f>
              <c:numCache>
                <c:formatCode>m/d/yyyy</c:formatCode>
                <c:ptCount val="55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</c:numCache>
            </c:numRef>
          </c:cat>
          <c:val>
            <c:numRef>
              <c:f>Sheet1!$B$2:$B$553</c:f>
              <c:numCache>
                <c:formatCode>0%</c:formatCode>
                <c:ptCount val="552"/>
                <c:pt idx="0">
                  <c:v>2.7777E-2</c:v>
                </c:pt>
                <c:pt idx="1">
                  <c:v>0.15584400000000001</c:v>
                </c:pt>
                <c:pt idx="2">
                  <c:v>0.19512099999999999</c:v>
                </c:pt>
                <c:pt idx="3">
                  <c:v>0.34146300000000002</c:v>
                </c:pt>
                <c:pt idx="4">
                  <c:v>0.430232</c:v>
                </c:pt>
                <c:pt idx="5">
                  <c:v>0.75342399999999998</c:v>
                </c:pt>
                <c:pt idx="6">
                  <c:v>0.77027000000000001</c:v>
                </c:pt>
                <c:pt idx="7">
                  <c:v>0.48314600000000002</c:v>
                </c:pt>
                <c:pt idx="8">
                  <c:v>0.64285700000000001</c:v>
                </c:pt>
                <c:pt idx="9">
                  <c:v>0.53636300000000003</c:v>
                </c:pt>
                <c:pt idx="10">
                  <c:v>0.43902400000000003</c:v>
                </c:pt>
                <c:pt idx="11">
                  <c:v>0.4375</c:v>
                </c:pt>
                <c:pt idx="12">
                  <c:v>0.45038099999999998</c:v>
                </c:pt>
                <c:pt idx="13">
                  <c:v>0.52272700000000005</c:v>
                </c:pt>
                <c:pt idx="14">
                  <c:v>0.29813600000000001</c:v>
                </c:pt>
                <c:pt idx="15">
                  <c:v>0.396449</c:v>
                </c:pt>
                <c:pt idx="16">
                  <c:v>0.58191999999999999</c:v>
                </c:pt>
                <c:pt idx="17">
                  <c:v>0.72826000000000002</c:v>
                </c:pt>
                <c:pt idx="18">
                  <c:v>1.0631569999999999</c:v>
                </c:pt>
                <c:pt idx="19">
                  <c:v>1.0497510000000001</c:v>
                </c:pt>
                <c:pt idx="20">
                  <c:v>1.0430619999999999</c:v>
                </c:pt>
                <c:pt idx="21">
                  <c:v>0.86440600000000001</c:v>
                </c:pt>
                <c:pt idx="22">
                  <c:v>0.68571400000000005</c:v>
                </c:pt>
                <c:pt idx="23">
                  <c:v>0.64465399999999995</c:v>
                </c:pt>
                <c:pt idx="24">
                  <c:v>0.35459099999999999</c:v>
                </c:pt>
                <c:pt idx="25">
                  <c:v>0.43931999999999999</c:v>
                </c:pt>
                <c:pt idx="26">
                  <c:v>0.39344200000000001</c:v>
                </c:pt>
                <c:pt idx="27">
                  <c:v>0.393181</c:v>
                </c:pt>
                <c:pt idx="28">
                  <c:v>0.349576</c:v>
                </c:pt>
                <c:pt idx="29">
                  <c:v>0.326959</c:v>
                </c:pt>
                <c:pt idx="30">
                  <c:v>0.45385999999999999</c:v>
                </c:pt>
                <c:pt idx="31">
                  <c:v>0.40809400000000001</c:v>
                </c:pt>
                <c:pt idx="32">
                  <c:v>0.53277300000000005</c:v>
                </c:pt>
                <c:pt idx="33">
                  <c:v>0.57096199999999997</c:v>
                </c:pt>
                <c:pt idx="34">
                  <c:v>0.51648300000000003</c:v>
                </c:pt>
                <c:pt idx="35">
                  <c:v>0.47118100000000002</c:v>
                </c:pt>
                <c:pt idx="36">
                  <c:v>0.54274599999999995</c:v>
                </c:pt>
                <c:pt idx="37">
                  <c:v>0.583233</c:v>
                </c:pt>
                <c:pt idx="38">
                  <c:v>0.620614</c:v>
                </c:pt>
                <c:pt idx="39">
                  <c:v>0.66458899999999999</c:v>
                </c:pt>
                <c:pt idx="40">
                  <c:v>0.81987500000000002</c:v>
                </c:pt>
                <c:pt idx="41">
                  <c:v>0.76199799999999995</c:v>
                </c:pt>
                <c:pt idx="42">
                  <c:v>0.60789199999999999</c:v>
                </c:pt>
                <c:pt idx="43">
                  <c:v>0.60136100000000003</c:v>
                </c:pt>
                <c:pt idx="44">
                  <c:v>0.53653499999999998</c:v>
                </c:pt>
                <c:pt idx="45">
                  <c:v>0.51715500000000003</c:v>
                </c:pt>
                <c:pt idx="46">
                  <c:v>0.44141000000000002</c:v>
                </c:pt>
                <c:pt idx="47">
                  <c:v>0.49416300000000002</c:v>
                </c:pt>
                <c:pt idx="48">
                  <c:v>0.44073099999999998</c:v>
                </c:pt>
                <c:pt idx="49">
                  <c:v>0.370807</c:v>
                </c:pt>
                <c:pt idx="50">
                  <c:v>0.43901299999999999</c:v>
                </c:pt>
                <c:pt idx="51">
                  <c:v>0.43914399999999998</c:v>
                </c:pt>
                <c:pt idx="52">
                  <c:v>0.51341700000000001</c:v>
                </c:pt>
                <c:pt idx="53">
                  <c:v>0.51115999999999995</c:v>
                </c:pt>
                <c:pt idx="54">
                  <c:v>0.55889800000000001</c:v>
                </c:pt>
                <c:pt idx="55">
                  <c:v>0.52963400000000005</c:v>
                </c:pt>
                <c:pt idx="56">
                  <c:v>0.38555600000000001</c:v>
                </c:pt>
                <c:pt idx="57">
                  <c:v>0.41028500000000001</c:v>
                </c:pt>
                <c:pt idx="58">
                  <c:v>0.331681</c:v>
                </c:pt>
                <c:pt idx="59">
                  <c:v>0.264401</c:v>
                </c:pt>
                <c:pt idx="60">
                  <c:v>0.191583</c:v>
                </c:pt>
                <c:pt idx="61">
                  <c:v>0.17639099999999999</c:v>
                </c:pt>
                <c:pt idx="62">
                  <c:v>0.12676599999999999</c:v>
                </c:pt>
                <c:pt idx="63">
                  <c:v>-6.4819999999999999E-3</c:v>
                </c:pt>
                <c:pt idx="64">
                  <c:v>1.1356E-2</c:v>
                </c:pt>
                <c:pt idx="65">
                  <c:v>1.1292E-2</c:v>
                </c:pt>
                <c:pt idx="66">
                  <c:v>-3.3170000000000001E-3</c:v>
                </c:pt>
                <c:pt idx="67">
                  <c:v>-9.1909999999999995E-3</c:v>
                </c:pt>
                <c:pt idx="68">
                  <c:v>-2.0580000000000001E-2</c:v>
                </c:pt>
                <c:pt idx="69">
                  <c:v>-4.7511999999999999E-2</c:v>
                </c:pt>
                <c:pt idx="70">
                  <c:v>-0.14172299999999999</c:v>
                </c:pt>
                <c:pt idx="71">
                  <c:v>-0.12341100000000001</c:v>
                </c:pt>
                <c:pt idx="72">
                  <c:v>-0.14291300000000001</c:v>
                </c:pt>
                <c:pt idx="73">
                  <c:v>-0.19308</c:v>
                </c:pt>
                <c:pt idx="74">
                  <c:v>-0.20192099999999999</c:v>
                </c:pt>
                <c:pt idx="75">
                  <c:v>-0.186469</c:v>
                </c:pt>
                <c:pt idx="76">
                  <c:v>-0.20415</c:v>
                </c:pt>
                <c:pt idx="77">
                  <c:v>-0.27388499999999999</c:v>
                </c:pt>
                <c:pt idx="78">
                  <c:v>-0.191411</c:v>
                </c:pt>
                <c:pt idx="79">
                  <c:v>-0.20455000000000001</c:v>
                </c:pt>
                <c:pt idx="80">
                  <c:v>-0.206369</c:v>
                </c:pt>
                <c:pt idx="81">
                  <c:v>-0.220526</c:v>
                </c:pt>
                <c:pt idx="82">
                  <c:v>-0.21315100000000001</c:v>
                </c:pt>
                <c:pt idx="83">
                  <c:v>-0.24137900000000001</c:v>
                </c:pt>
                <c:pt idx="84">
                  <c:v>-0.32288099999999997</c:v>
                </c:pt>
                <c:pt idx="85">
                  <c:v>-0.214393</c:v>
                </c:pt>
                <c:pt idx="86">
                  <c:v>-0.19336400000000001</c:v>
                </c:pt>
                <c:pt idx="87">
                  <c:v>-0.115124</c:v>
                </c:pt>
                <c:pt idx="88">
                  <c:v>-8.9337E-2</c:v>
                </c:pt>
                <c:pt idx="89">
                  <c:v>-4.1068E-2</c:v>
                </c:pt>
                <c:pt idx="90">
                  <c:v>-5.4650999999999998E-2</c:v>
                </c:pt>
                <c:pt idx="91">
                  <c:v>-0.15254799999999999</c:v>
                </c:pt>
                <c:pt idx="92">
                  <c:v>-5.4445E-2</c:v>
                </c:pt>
                <c:pt idx="93">
                  <c:v>-8.1266000000000005E-2</c:v>
                </c:pt>
                <c:pt idx="94">
                  <c:v>-0.10047399999999999</c:v>
                </c:pt>
                <c:pt idx="95">
                  <c:v>-7.1100999999999998E-2</c:v>
                </c:pt>
                <c:pt idx="96">
                  <c:v>-2.6478000000000002E-2</c:v>
                </c:pt>
                <c:pt idx="97">
                  <c:v>-1.2211E-2</c:v>
                </c:pt>
                <c:pt idx="98">
                  <c:v>-0.10231899999999999</c:v>
                </c:pt>
                <c:pt idx="99">
                  <c:v>2.9060000000000002E-3</c:v>
                </c:pt>
                <c:pt idx="100">
                  <c:v>7.4317999999999995E-2</c:v>
                </c:pt>
                <c:pt idx="101">
                  <c:v>0.109668</c:v>
                </c:pt>
                <c:pt idx="102">
                  <c:v>0.13780500000000001</c:v>
                </c:pt>
                <c:pt idx="103">
                  <c:v>0.135989</c:v>
                </c:pt>
                <c:pt idx="104">
                  <c:v>0.106598</c:v>
                </c:pt>
                <c:pt idx="105">
                  <c:v>-3.6024E-2</c:v>
                </c:pt>
                <c:pt idx="106">
                  <c:v>9.4964999999999994E-2</c:v>
                </c:pt>
                <c:pt idx="107">
                  <c:v>7.8659999999999994E-2</c:v>
                </c:pt>
                <c:pt idx="108">
                  <c:v>7.0119000000000001E-2</c:v>
                </c:pt>
                <c:pt idx="109">
                  <c:v>5.7234E-2</c:v>
                </c:pt>
                <c:pt idx="110">
                  <c:v>9.4244999999999995E-2</c:v>
                </c:pt>
                <c:pt idx="111">
                  <c:v>9.9655999999999995E-2</c:v>
                </c:pt>
                <c:pt idx="112">
                  <c:v>-3.9626000000000001E-2</c:v>
                </c:pt>
                <c:pt idx="113">
                  <c:v>6.3949000000000006E-2</c:v>
                </c:pt>
                <c:pt idx="114">
                  <c:v>3.2016999999999997E-2</c:v>
                </c:pt>
                <c:pt idx="115">
                  <c:v>6.1379999999999997E-2</c:v>
                </c:pt>
                <c:pt idx="116">
                  <c:v>-1.9054000000000001E-2</c:v>
                </c:pt>
                <c:pt idx="117">
                  <c:v>-2.9295999999999999E-2</c:v>
                </c:pt>
                <c:pt idx="118">
                  <c:v>-3.5811000000000003E-2</c:v>
                </c:pt>
                <c:pt idx="119">
                  <c:v>-7.4515999999999999E-2</c:v>
                </c:pt>
                <c:pt idx="120">
                  <c:v>0.109307</c:v>
                </c:pt>
                <c:pt idx="121">
                  <c:v>0.18282999999999999</c:v>
                </c:pt>
                <c:pt idx="122">
                  <c:v>0.36596699999999999</c:v>
                </c:pt>
                <c:pt idx="123">
                  <c:v>0.45472800000000002</c:v>
                </c:pt>
                <c:pt idx="124">
                  <c:v>0.50020100000000001</c:v>
                </c:pt>
                <c:pt idx="125">
                  <c:v>0.49449199999999999</c:v>
                </c:pt>
                <c:pt idx="126">
                  <c:v>0.30991800000000003</c:v>
                </c:pt>
                <c:pt idx="127">
                  <c:v>0.30671100000000001</c:v>
                </c:pt>
                <c:pt idx="128">
                  <c:v>0.26222899999999999</c:v>
                </c:pt>
                <c:pt idx="129">
                  <c:v>0.220746</c:v>
                </c:pt>
                <c:pt idx="130">
                  <c:v>0.164155</c:v>
                </c:pt>
                <c:pt idx="131">
                  <c:v>9.4789999999999999E-2</c:v>
                </c:pt>
                <c:pt idx="132">
                  <c:v>9.5828999999999998E-2</c:v>
                </c:pt>
                <c:pt idx="133">
                  <c:v>-2.0915E-2</c:v>
                </c:pt>
                <c:pt idx="134">
                  <c:v>-2.6588000000000001E-2</c:v>
                </c:pt>
                <c:pt idx="135">
                  <c:v>-4.5773000000000001E-2</c:v>
                </c:pt>
                <c:pt idx="136">
                  <c:v>-0.10564</c:v>
                </c:pt>
                <c:pt idx="137">
                  <c:v>-0.16945199999999999</c:v>
                </c:pt>
                <c:pt idx="138">
                  <c:v>-0.22994999999999999</c:v>
                </c:pt>
                <c:pt idx="139">
                  <c:v>-0.25326300000000002</c:v>
                </c:pt>
                <c:pt idx="140">
                  <c:v>-0.31712899999999999</c:v>
                </c:pt>
                <c:pt idx="141">
                  <c:v>-0.25457099999999999</c:v>
                </c:pt>
                <c:pt idx="142">
                  <c:v>-0.212974</c:v>
                </c:pt>
                <c:pt idx="143">
                  <c:v>-0.18753400000000001</c:v>
                </c:pt>
                <c:pt idx="144">
                  <c:v>-0.16534199999999999</c:v>
                </c:pt>
                <c:pt idx="145">
                  <c:v>-9.6629999999999994E-2</c:v>
                </c:pt>
                <c:pt idx="146">
                  <c:v>-8.4405999999999995E-2</c:v>
                </c:pt>
                <c:pt idx="147">
                  <c:v>-0.152277</c:v>
                </c:pt>
                <c:pt idx="148">
                  <c:v>-6.3053999999999999E-2</c:v>
                </c:pt>
                <c:pt idx="149">
                  <c:v>-3.7838999999999998E-2</c:v>
                </c:pt>
                <c:pt idx="150">
                  <c:v>-3.8773000000000002E-2</c:v>
                </c:pt>
                <c:pt idx="151">
                  <c:v>-5.0667999999999998E-2</c:v>
                </c:pt>
                <c:pt idx="152">
                  <c:v>-1.7399999999999999E-2</c:v>
                </c:pt>
                <c:pt idx="153">
                  <c:v>-6.1254999999999997E-2</c:v>
                </c:pt>
                <c:pt idx="154">
                  <c:v>-0.134244</c:v>
                </c:pt>
                <c:pt idx="155">
                  <c:v>-1.2154999999999999E-2</c:v>
                </c:pt>
                <c:pt idx="156">
                  <c:v>2.2367999999999999E-2</c:v>
                </c:pt>
                <c:pt idx="157">
                  <c:v>1.7049000000000002E-2</c:v>
                </c:pt>
                <c:pt idx="158">
                  <c:v>2.6752000000000001E-2</c:v>
                </c:pt>
                <c:pt idx="159">
                  <c:v>8.9671000000000001E-2</c:v>
                </c:pt>
                <c:pt idx="160">
                  <c:v>6.2348000000000001E-2</c:v>
                </c:pt>
                <c:pt idx="161">
                  <c:v>-4.5240000000000002E-2</c:v>
                </c:pt>
                <c:pt idx="162">
                  <c:v>7.5319999999999996E-3</c:v>
                </c:pt>
                <c:pt idx="163">
                  <c:v>9.11E-3</c:v>
                </c:pt>
                <c:pt idx="164">
                  <c:v>5.5040000000000002E-3</c:v>
                </c:pt>
                <c:pt idx="165">
                  <c:v>6.6119999999999998E-3</c:v>
                </c:pt>
                <c:pt idx="166">
                  <c:v>3.2773999999999998E-2</c:v>
                </c:pt>
                <c:pt idx="167">
                  <c:v>-1.8953000000000001E-2</c:v>
                </c:pt>
                <c:pt idx="168">
                  <c:v>-8.3658999999999997E-2</c:v>
                </c:pt>
                <c:pt idx="169">
                  <c:v>3.7197000000000001E-2</c:v>
                </c:pt>
                <c:pt idx="170">
                  <c:v>0.115693</c:v>
                </c:pt>
                <c:pt idx="171">
                  <c:v>0.114963</c:v>
                </c:pt>
                <c:pt idx="172">
                  <c:v>0.14427999999999999</c:v>
                </c:pt>
                <c:pt idx="173">
                  <c:v>0.235316</c:v>
                </c:pt>
                <c:pt idx="174">
                  <c:v>0.233488</c:v>
                </c:pt>
                <c:pt idx="175">
                  <c:v>0.118384</c:v>
                </c:pt>
                <c:pt idx="176">
                  <c:v>0.17271800000000001</c:v>
                </c:pt>
                <c:pt idx="177">
                  <c:v>0.192798</c:v>
                </c:pt>
                <c:pt idx="178">
                  <c:v>0.16542999999999999</c:v>
                </c:pt>
                <c:pt idx="179">
                  <c:v>0.16734399999999999</c:v>
                </c:pt>
                <c:pt idx="180">
                  <c:v>0.19275500000000001</c:v>
                </c:pt>
                <c:pt idx="181">
                  <c:v>0.13947599999999999</c:v>
                </c:pt>
                <c:pt idx="182">
                  <c:v>1.1157E-2</c:v>
                </c:pt>
                <c:pt idx="183">
                  <c:v>0.106201</c:v>
                </c:pt>
                <c:pt idx="184">
                  <c:v>0.12755900000000001</c:v>
                </c:pt>
                <c:pt idx="185">
                  <c:v>7.8778000000000001E-2</c:v>
                </c:pt>
                <c:pt idx="186">
                  <c:v>4.8058999999999998E-2</c:v>
                </c:pt>
                <c:pt idx="187">
                  <c:v>4.8086999999999998E-2</c:v>
                </c:pt>
                <c:pt idx="188">
                  <c:v>2.6206E-2</c:v>
                </c:pt>
                <c:pt idx="189">
                  <c:v>-8.4842000000000001E-2</c:v>
                </c:pt>
                <c:pt idx="190">
                  <c:v>-2.6993E-2</c:v>
                </c:pt>
                <c:pt idx="191">
                  <c:v>-5.8122E-2</c:v>
                </c:pt>
                <c:pt idx="192">
                  <c:v>-8.1128000000000006E-2</c:v>
                </c:pt>
                <c:pt idx="193">
                  <c:v>-7.5859999999999997E-2</c:v>
                </c:pt>
                <c:pt idx="194">
                  <c:v>-7.5259999999999997E-3</c:v>
                </c:pt>
                <c:pt idx="195">
                  <c:v>-3.3071000000000003E-2</c:v>
                </c:pt>
                <c:pt idx="196">
                  <c:v>-0.13114700000000001</c:v>
                </c:pt>
                <c:pt idx="197">
                  <c:v>-1.8987E-2</c:v>
                </c:pt>
                <c:pt idx="198">
                  <c:v>1.179E-2</c:v>
                </c:pt>
                <c:pt idx="199">
                  <c:v>4.4005000000000002E-2</c:v>
                </c:pt>
                <c:pt idx="200">
                  <c:v>-2.3564000000000002E-2</c:v>
                </c:pt>
                <c:pt idx="201">
                  <c:v>-5.6059999999999999E-3</c:v>
                </c:pt>
                <c:pt idx="202">
                  <c:v>-7.0537000000000002E-2</c:v>
                </c:pt>
                <c:pt idx="203">
                  <c:v>-0.17338700000000001</c:v>
                </c:pt>
                <c:pt idx="204">
                  <c:v>-0.103523</c:v>
                </c:pt>
                <c:pt idx="205">
                  <c:v>-0.135909</c:v>
                </c:pt>
                <c:pt idx="206">
                  <c:v>-0.15284300000000001</c:v>
                </c:pt>
                <c:pt idx="207">
                  <c:v>-0.17338500000000001</c:v>
                </c:pt>
                <c:pt idx="208">
                  <c:v>-9.5877000000000004E-2</c:v>
                </c:pt>
                <c:pt idx="209">
                  <c:v>-0.102113</c:v>
                </c:pt>
                <c:pt idx="210">
                  <c:v>-0.199818</c:v>
                </c:pt>
                <c:pt idx="211">
                  <c:v>-9.4434000000000004E-2</c:v>
                </c:pt>
                <c:pt idx="212">
                  <c:v>-8.6443999999999993E-2</c:v>
                </c:pt>
                <c:pt idx="213">
                  <c:v>-9.1745999999999994E-2</c:v>
                </c:pt>
                <c:pt idx="214">
                  <c:v>-0.106735</c:v>
                </c:pt>
                <c:pt idx="215">
                  <c:v>-0.137269</c:v>
                </c:pt>
                <c:pt idx="216">
                  <c:v>-0.16622500000000001</c:v>
                </c:pt>
                <c:pt idx="217">
                  <c:v>-0.25621500000000003</c:v>
                </c:pt>
                <c:pt idx="218">
                  <c:v>-0.217921</c:v>
                </c:pt>
                <c:pt idx="219">
                  <c:v>-0.20014999999999999</c:v>
                </c:pt>
                <c:pt idx="220">
                  <c:v>-0.197602</c:v>
                </c:pt>
                <c:pt idx="221">
                  <c:v>-0.17968000000000001</c:v>
                </c:pt>
                <c:pt idx="222">
                  <c:v>-0.147258</c:v>
                </c:pt>
                <c:pt idx="223">
                  <c:v>-0.14391799999999999</c:v>
                </c:pt>
                <c:pt idx="224">
                  <c:v>-0.18698400000000001</c:v>
                </c:pt>
                <c:pt idx="225">
                  <c:v>-0.14741699999999999</c:v>
                </c:pt>
                <c:pt idx="226">
                  <c:v>-0.108433</c:v>
                </c:pt>
                <c:pt idx="227">
                  <c:v>-0.131525</c:v>
                </c:pt>
                <c:pt idx="228">
                  <c:v>-0.17640800000000001</c:v>
                </c:pt>
                <c:pt idx="229">
                  <c:v>-0.187635</c:v>
                </c:pt>
                <c:pt idx="230">
                  <c:v>-0.224915</c:v>
                </c:pt>
                <c:pt idx="231">
                  <c:v>-0.27863399999999999</c:v>
                </c:pt>
                <c:pt idx="232">
                  <c:v>-0.242702</c:v>
                </c:pt>
                <c:pt idx="233">
                  <c:v>-0.192692</c:v>
                </c:pt>
                <c:pt idx="234">
                  <c:v>-0.14774100000000001</c:v>
                </c:pt>
                <c:pt idx="235">
                  <c:v>-0.17022599999999999</c:v>
                </c:pt>
                <c:pt idx="236">
                  <c:v>-0.14690900000000001</c:v>
                </c:pt>
                <c:pt idx="237">
                  <c:v>-0.17786199999999999</c:v>
                </c:pt>
                <c:pt idx="238">
                  <c:v>-0.26052799999999998</c:v>
                </c:pt>
                <c:pt idx="239">
                  <c:v>-0.18540100000000001</c:v>
                </c:pt>
                <c:pt idx="240">
                  <c:v>-0.19530600000000001</c:v>
                </c:pt>
                <c:pt idx="241">
                  <c:v>-0.197103</c:v>
                </c:pt>
                <c:pt idx="242">
                  <c:v>-0.19778299999999999</c:v>
                </c:pt>
                <c:pt idx="243">
                  <c:v>-0.158774</c:v>
                </c:pt>
                <c:pt idx="244">
                  <c:v>-0.14768300000000001</c:v>
                </c:pt>
                <c:pt idx="245">
                  <c:v>-0.215949</c:v>
                </c:pt>
                <c:pt idx="246">
                  <c:v>-0.114769</c:v>
                </c:pt>
                <c:pt idx="247">
                  <c:v>-0.116232</c:v>
                </c:pt>
                <c:pt idx="248">
                  <c:v>-0.11051999999999999</c:v>
                </c:pt>
                <c:pt idx="249">
                  <c:v>-9.9336999999999995E-2</c:v>
                </c:pt>
                <c:pt idx="250">
                  <c:v>-0.139297</c:v>
                </c:pt>
                <c:pt idx="251">
                  <c:v>-0.204571</c:v>
                </c:pt>
                <c:pt idx="252">
                  <c:v>-0.30393100000000001</c:v>
                </c:pt>
                <c:pt idx="253">
                  <c:v>-0.19614500000000001</c:v>
                </c:pt>
                <c:pt idx="254">
                  <c:v>-0.20669000000000001</c:v>
                </c:pt>
                <c:pt idx="255">
                  <c:v>-0.234068</c:v>
                </c:pt>
                <c:pt idx="256">
                  <c:v>-0.22894700000000001</c:v>
                </c:pt>
                <c:pt idx="257">
                  <c:v>-0.25143599999999999</c:v>
                </c:pt>
                <c:pt idx="258">
                  <c:v>-0.24427399999999999</c:v>
                </c:pt>
                <c:pt idx="259">
                  <c:v>-0.32722099999999998</c:v>
                </c:pt>
                <c:pt idx="260">
                  <c:v>-0.262048</c:v>
                </c:pt>
                <c:pt idx="261">
                  <c:v>-0.29599900000000001</c:v>
                </c:pt>
                <c:pt idx="262">
                  <c:v>-0.30887300000000001</c:v>
                </c:pt>
                <c:pt idx="263">
                  <c:v>-0.28214899999999998</c:v>
                </c:pt>
                <c:pt idx="264">
                  <c:v>-0.32525199999999999</c:v>
                </c:pt>
                <c:pt idx="265">
                  <c:v>-0.34381499999999998</c:v>
                </c:pt>
                <c:pt idx="266">
                  <c:v>-0.40408100000000002</c:v>
                </c:pt>
                <c:pt idx="267">
                  <c:v>-0.311363</c:v>
                </c:pt>
                <c:pt idx="268">
                  <c:v>-0.298765</c:v>
                </c:pt>
                <c:pt idx="269">
                  <c:v>-0.31818099999999999</c:v>
                </c:pt>
                <c:pt idx="270">
                  <c:v>-0.326347</c:v>
                </c:pt>
                <c:pt idx="271">
                  <c:v>-0.33226800000000001</c:v>
                </c:pt>
                <c:pt idx="272">
                  <c:v>-0.35616399999999998</c:v>
                </c:pt>
                <c:pt idx="273">
                  <c:v>-0.42244199999999998</c:v>
                </c:pt>
                <c:pt idx="274">
                  <c:v>-0.32746399999999998</c:v>
                </c:pt>
                <c:pt idx="275">
                  <c:v>-0.309803</c:v>
                </c:pt>
                <c:pt idx="276">
                  <c:v>-0.33777699999999999</c:v>
                </c:pt>
                <c:pt idx="277">
                  <c:v>-0.39234400000000003</c:v>
                </c:pt>
                <c:pt idx="278">
                  <c:v>-0.34042499999999998</c:v>
                </c:pt>
                <c:pt idx="279">
                  <c:v>-0.37714199999999998</c:v>
                </c:pt>
                <c:pt idx="280">
                  <c:v>-0.45549699999999999</c:v>
                </c:pt>
                <c:pt idx="281">
                  <c:v>-0.38636300000000001</c:v>
                </c:pt>
                <c:pt idx="282">
                  <c:v>-0.42281800000000003</c:v>
                </c:pt>
                <c:pt idx="283">
                  <c:v>-0.385826</c:v>
                </c:pt>
                <c:pt idx="284">
                  <c:v>-0.387096</c:v>
                </c:pt>
                <c:pt idx="285">
                  <c:v>-0.37614599999999998</c:v>
                </c:pt>
                <c:pt idx="286">
                  <c:v>-0.43269200000000002</c:v>
                </c:pt>
                <c:pt idx="287">
                  <c:v>-0.50925900000000002</c:v>
                </c:pt>
                <c:pt idx="288">
                  <c:v>-0.34883700000000001</c:v>
                </c:pt>
                <c:pt idx="289">
                  <c:v>-0.34615299999999999</c:v>
                </c:pt>
                <c:pt idx="290">
                  <c:v>-0.236842</c:v>
                </c:pt>
                <c:pt idx="291">
                  <c:v>-0.20588200000000001</c:v>
                </c:pt>
                <c:pt idx="292">
                  <c:v>-0.13559299999999999</c:v>
                </c:pt>
                <c:pt idx="293">
                  <c:v>-0.132075</c:v>
                </c:pt>
                <c:pt idx="294">
                  <c:v>-0.23214199999999999</c:v>
                </c:pt>
                <c:pt idx="295">
                  <c:v>-9.8039000000000001E-2</c:v>
                </c:pt>
                <c:pt idx="296">
                  <c:v>-0.275862</c:v>
                </c:pt>
                <c:pt idx="297">
                  <c:v>-0.222222</c:v>
                </c:pt>
                <c:pt idx="298">
                  <c:v>-0.43137199999999998</c:v>
                </c:pt>
                <c:pt idx="299">
                  <c:v>-0.45652100000000001</c:v>
                </c:pt>
                <c:pt idx="300">
                  <c:v>-0.48837199999999997</c:v>
                </c:pt>
                <c:pt idx="301">
                  <c:v>-0.54347800000000002</c:v>
                </c:pt>
                <c:pt idx="302">
                  <c:v>-0.40476099999999998</c:v>
                </c:pt>
                <c:pt idx="303">
                  <c:v>-0.47619</c:v>
                </c:pt>
                <c:pt idx="304">
                  <c:v>-0.206896</c:v>
                </c:pt>
                <c:pt idx="305">
                  <c:v>-0.23999899999999999</c:v>
                </c:pt>
                <c:pt idx="306">
                  <c:v>-9.0909000000000004E-2</c:v>
                </c:pt>
                <c:pt idx="307">
                  <c:v>-9.5237000000000002E-2</c:v>
                </c:pt>
                <c:pt idx="308">
                  <c:v>-0.28000000000000003</c:v>
                </c:pt>
                <c:pt idx="309">
                  <c:v>-0.13636300000000001</c:v>
                </c:pt>
                <c:pt idx="310">
                  <c:v>-0.39130399999999999</c:v>
                </c:pt>
                <c:pt idx="311">
                  <c:v>-5.2630999999999997E-2</c:v>
                </c:pt>
                <c:pt idx="312">
                  <c:v>-0.2</c:v>
                </c:pt>
                <c:pt idx="313">
                  <c:v>-0.105263</c:v>
                </c:pt>
                <c:pt idx="314">
                  <c:v>5.5555E-2</c:v>
                </c:pt>
                <c:pt idx="315">
                  <c:v>0.10526199999999999</c:v>
                </c:pt>
                <c:pt idx="316">
                  <c:v>0.64285700000000001</c:v>
                </c:pt>
                <c:pt idx="317">
                  <c:v>0.277777</c:v>
                </c:pt>
                <c:pt idx="318">
                  <c:v>0.75</c:v>
                </c:pt>
                <c:pt idx="319">
                  <c:v>0.52941099999999996</c:v>
                </c:pt>
                <c:pt idx="320">
                  <c:v>0.47368300000000002</c:v>
                </c:pt>
                <c:pt idx="321">
                  <c:v>0.28571400000000002</c:v>
                </c:pt>
                <c:pt idx="322">
                  <c:v>8.6956000000000006E-2</c:v>
                </c:pt>
                <c:pt idx="323">
                  <c:v>0.26086900000000002</c:v>
                </c:pt>
                <c:pt idx="324">
                  <c:v>3.5714000000000003E-2</c:v>
                </c:pt>
                <c:pt idx="325">
                  <c:v>0.230769</c:v>
                </c:pt>
                <c:pt idx="326">
                  <c:v>0.107143</c:v>
                </c:pt>
                <c:pt idx="327">
                  <c:v>0.25925900000000002</c:v>
                </c:pt>
                <c:pt idx="328">
                  <c:v>0.28000000000000003</c:v>
                </c:pt>
                <c:pt idx="329">
                  <c:v>0.103448</c:v>
                </c:pt>
                <c:pt idx="330">
                  <c:v>0.31034400000000001</c:v>
                </c:pt>
                <c:pt idx="331">
                  <c:v>0.125</c:v>
                </c:pt>
                <c:pt idx="332">
                  <c:v>0.193548</c:v>
                </c:pt>
                <c:pt idx="333">
                  <c:v>8.8234999999999994E-2</c:v>
                </c:pt>
                <c:pt idx="334">
                  <c:v>0.1875</c:v>
                </c:pt>
                <c:pt idx="335">
                  <c:v>0.125</c:v>
                </c:pt>
                <c:pt idx="336">
                  <c:v>-7.8947000000000003E-2</c:v>
                </c:pt>
                <c:pt idx="337">
                  <c:v>0.13888800000000001</c:v>
                </c:pt>
                <c:pt idx="338">
                  <c:v>-2.7026000000000001E-2</c:v>
                </c:pt>
                <c:pt idx="339">
                  <c:v>-5.4053999999999998E-2</c:v>
                </c:pt>
                <c:pt idx="340">
                  <c:v>-0.105263</c:v>
                </c:pt>
                <c:pt idx="341">
                  <c:v>-5.5555E-2</c:v>
                </c:pt>
                <c:pt idx="342">
                  <c:v>-8.5713999999999999E-2</c:v>
                </c:pt>
                <c:pt idx="343">
                  <c:v>-0.26829199999999997</c:v>
                </c:pt>
                <c:pt idx="344">
                  <c:v>-5.5555E-2</c:v>
                </c:pt>
                <c:pt idx="345">
                  <c:v>-0.14285700000000001</c:v>
                </c:pt>
                <c:pt idx="346">
                  <c:v>-0.14705799999999999</c:v>
                </c:pt>
                <c:pt idx="347">
                  <c:v>-0.17646999999999999</c:v>
                </c:pt>
                <c:pt idx="348">
                  <c:v>-0.125</c:v>
                </c:pt>
                <c:pt idx="349">
                  <c:v>-9.9999000000000005E-2</c:v>
                </c:pt>
                <c:pt idx="350">
                  <c:v>-0.14705799999999999</c:v>
                </c:pt>
                <c:pt idx="351">
                  <c:v>0.13333300000000001</c:v>
                </c:pt>
                <c:pt idx="352">
                  <c:v>0.103448</c:v>
                </c:pt>
                <c:pt idx="353">
                  <c:v>0.214285</c:v>
                </c:pt>
                <c:pt idx="354">
                  <c:v>0.17857100000000001</c:v>
                </c:pt>
                <c:pt idx="355">
                  <c:v>0.296296</c:v>
                </c:pt>
                <c:pt idx="356">
                  <c:v>0.206896</c:v>
                </c:pt>
                <c:pt idx="357">
                  <c:v>0</c:v>
                </c:pt>
                <c:pt idx="358">
                  <c:v>6.25E-2</c:v>
                </c:pt>
                <c:pt idx="359">
                  <c:v>-8.8234999999999994E-2</c:v>
                </c:pt>
                <c:pt idx="360">
                  <c:v>-6.0606E-2</c:v>
                </c:pt>
                <c:pt idx="361">
                  <c:v>-0.171428</c:v>
                </c:pt>
                <c:pt idx="362">
                  <c:v>-0.114285</c:v>
                </c:pt>
                <c:pt idx="363">
                  <c:v>-0.14705799999999999</c:v>
                </c:pt>
                <c:pt idx="364">
                  <c:v>-0.17646999999999999</c:v>
                </c:pt>
                <c:pt idx="365">
                  <c:v>-6.4516000000000004E-2</c:v>
                </c:pt>
                <c:pt idx="366">
                  <c:v>-0.12903200000000001</c:v>
                </c:pt>
                <c:pt idx="367">
                  <c:v>0.103448</c:v>
                </c:pt>
                <c:pt idx="368">
                  <c:v>9.6773999999999999E-2</c:v>
                </c:pt>
                <c:pt idx="369">
                  <c:v>0.48275800000000002</c:v>
                </c:pt>
                <c:pt idx="370">
                  <c:v>0.71428599999999998</c:v>
                </c:pt>
                <c:pt idx="371">
                  <c:v>0.72413799999999995</c:v>
                </c:pt>
                <c:pt idx="372">
                  <c:v>1</c:v>
                </c:pt>
                <c:pt idx="373">
                  <c:v>0.9375</c:v>
                </c:pt>
                <c:pt idx="374">
                  <c:v>1</c:v>
                </c:pt>
                <c:pt idx="375">
                  <c:v>0.72092999999999996</c:v>
                </c:pt>
                <c:pt idx="376">
                  <c:v>0.625</c:v>
                </c:pt>
                <c:pt idx="377">
                  <c:v>0.43999899999999997</c:v>
                </c:pt>
                <c:pt idx="378">
                  <c:v>0.31481500000000001</c:v>
                </c:pt>
                <c:pt idx="379">
                  <c:v>0.403225</c:v>
                </c:pt>
                <c:pt idx="380">
                  <c:v>0.47058800000000001</c:v>
                </c:pt>
                <c:pt idx="381">
                  <c:v>0.37837799999999999</c:v>
                </c:pt>
                <c:pt idx="382">
                  <c:v>0.30769200000000002</c:v>
                </c:pt>
                <c:pt idx="383">
                  <c:v>0.5</c:v>
                </c:pt>
                <c:pt idx="384">
                  <c:v>0.45070399999999999</c:v>
                </c:pt>
                <c:pt idx="385">
                  <c:v>0.16091900000000001</c:v>
                </c:pt>
                <c:pt idx="386">
                  <c:v>0.18</c:v>
                </c:pt>
                <c:pt idx="387">
                  <c:v>3.9215E-2</c:v>
                </c:pt>
                <c:pt idx="388">
                  <c:v>-7.8431000000000001E-2</c:v>
                </c:pt>
                <c:pt idx="389">
                  <c:v>-0.148148</c:v>
                </c:pt>
                <c:pt idx="390">
                  <c:v>0</c:v>
                </c:pt>
                <c:pt idx="391">
                  <c:v>-9.9009E-2</c:v>
                </c:pt>
                <c:pt idx="392">
                  <c:v>-0.13559299999999999</c:v>
                </c:pt>
                <c:pt idx="393">
                  <c:v>0.19811300000000001</c:v>
                </c:pt>
                <c:pt idx="394">
                  <c:v>0.24468000000000001</c:v>
                </c:pt>
                <c:pt idx="395">
                  <c:v>0.44565199999999999</c:v>
                </c:pt>
                <c:pt idx="396">
                  <c:v>0.446602</c:v>
                </c:pt>
                <c:pt idx="397">
                  <c:v>0.74725200000000003</c:v>
                </c:pt>
                <c:pt idx="398">
                  <c:v>0.52941099999999996</c:v>
                </c:pt>
                <c:pt idx="399">
                  <c:v>0.24409400000000001</c:v>
                </c:pt>
                <c:pt idx="400">
                  <c:v>0.43589699999999998</c:v>
                </c:pt>
                <c:pt idx="401">
                  <c:v>0.32330799999999998</c:v>
                </c:pt>
                <c:pt idx="402">
                  <c:v>0.38926100000000002</c:v>
                </c:pt>
                <c:pt idx="403">
                  <c:v>0.33333299999999999</c:v>
                </c:pt>
                <c:pt idx="404">
                  <c:v>0.40384599999999998</c:v>
                </c:pt>
                <c:pt idx="405">
                  <c:v>0.36708800000000003</c:v>
                </c:pt>
                <c:pt idx="406">
                  <c:v>0.30952299999999999</c:v>
                </c:pt>
                <c:pt idx="407">
                  <c:v>0.55681800000000004</c:v>
                </c:pt>
                <c:pt idx="408">
                  <c:v>0.44444400000000001</c:v>
                </c:pt>
                <c:pt idx="409">
                  <c:v>0.43867899999999999</c:v>
                </c:pt>
                <c:pt idx="410">
                  <c:v>0.39726</c:v>
                </c:pt>
                <c:pt idx="411">
                  <c:v>0.56018500000000004</c:v>
                </c:pt>
                <c:pt idx="412">
                  <c:v>0.56363600000000003</c:v>
                </c:pt>
                <c:pt idx="413">
                  <c:v>0.32116699999999998</c:v>
                </c:pt>
                <c:pt idx="414">
                  <c:v>0.51170499999999997</c:v>
                </c:pt>
                <c:pt idx="415">
                  <c:v>0.62622900000000004</c:v>
                </c:pt>
                <c:pt idx="416">
                  <c:v>0.79411699999999996</c:v>
                </c:pt>
                <c:pt idx="417">
                  <c:v>0.77744800000000003</c:v>
                </c:pt>
                <c:pt idx="418">
                  <c:v>0.96802299999999997</c:v>
                </c:pt>
                <c:pt idx="419">
                  <c:v>0.87568999999999997</c:v>
                </c:pt>
                <c:pt idx="420">
                  <c:v>0.56858399999999998</c:v>
                </c:pt>
                <c:pt idx="421">
                  <c:v>0.74596700000000005</c:v>
                </c:pt>
                <c:pt idx="422">
                  <c:v>0.75045499999999998</c:v>
                </c:pt>
                <c:pt idx="423">
                  <c:v>0.72453999999999996</c:v>
                </c:pt>
                <c:pt idx="424">
                  <c:v>0.55096000000000001</c:v>
                </c:pt>
                <c:pt idx="425">
                  <c:v>0.71575800000000001</c:v>
                </c:pt>
                <c:pt idx="426">
                  <c:v>0.66290499999999997</c:v>
                </c:pt>
                <c:pt idx="427">
                  <c:v>0.45380999999999999</c:v>
                </c:pt>
                <c:pt idx="428">
                  <c:v>0.60353699999999999</c:v>
                </c:pt>
                <c:pt idx="429">
                  <c:v>0.58954499999999999</c:v>
                </c:pt>
                <c:pt idx="430">
                  <c:v>0.66190400000000005</c:v>
                </c:pt>
                <c:pt idx="431">
                  <c:v>0.56566499999999997</c:v>
                </c:pt>
                <c:pt idx="432">
                  <c:v>0.67514799999999997</c:v>
                </c:pt>
                <c:pt idx="433">
                  <c:v>0.53216799999999997</c:v>
                </c:pt>
                <c:pt idx="434">
                  <c:v>0.27319900000000003</c:v>
                </c:pt>
                <c:pt idx="435">
                  <c:v>0.37636999999999998</c:v>
                </c:pt>
                <c:pt idx="436">
                  <c:v>0.324355</c:v>
                </c:pt>
                <c:pt idx="437">
                  <c:v>0.33168799999999998</c:v>
                </c:pt>
                <c:pt idx="438">
                  <c:v>0.23746800000000001</c:v>
                </c:pt>
                <c:pt idx="439">
                  <c:v>0.30793100000000001</c:v>
                </c:pt>
                <c:pt idx="440">
                  <c:v>0.29153899999999999</c:v>
                </c:pt>
                <c:pt idx="441">
                  <c:v>0.147787</c:v>
                </c:pt>
                <c:pt idx="442">
                  <c:v>0.29597499999999999</c:v>
                </c:pt>
                <c:pt idx="443">
                  <c:v>0.27748</c:v>
                </c:pt>
                <c:pt idx="444">
                  <c:v>0.232405</c:v>
                </c:pt>
                <c:pt idx="445">
                  <c:v>0.21244499999999999</c:v>
                </c:pt>
                <c:pt idx="446">
                  <c:v>0.30149900000000002</c:v>
                </c:pt>
                <c:pt idx="447">
                  <c:v>0.26676899999999998</c:v>
                </c:pt>
                <c:pt idx="448">
                  <c:v>9.1150999999999996E-2</c:v>
                </c:pt>
                <c:pt idx="449">
                  <c:v>0.18981600000000001</c:v>
                </c:pt>
                <c:pt idx="450">
                  <c:v>0.24468699999999999</c:v>
                </c:pt>
                <c:pt idx="451">
                  <c:v>0.19744999999999999</c:v>
                </c:pt>
                <c:pt idx="452">
                  <c:v>0.20436599999999999</c:v>
                </c:pt>
                <c:pt idx="453">
                  <c:v>0.211503</c:v>
                </c:pt>
                <c:pt idx="454">
                  <c:v>0.15054999999999999</c:v>
                </c:pt>
                <c:pt idx="455">
                  <c:v>1.3813000000000001E-2</c:v>
                </c:pt>
                <c:pt idx="456">
                  <c:v>8.2155000000000006E-2</c:v>
                </c:pt>
                <c:pt idx="457">
                  <c:v>7.7804999999999999E-2</c:v>
                </c:pt>
                <c:pt idx="458">
                  <c:v>-4.8085999999999997E-2</c:v>
                </c:pt>
                <c:pt idx="459">
                  <c:v>-3.5668999999999999E-2</c:v>
                </c:pt>
                <c:pt idx="460">
                  <c:v>-3.8829000000000002E-2</c:v>
                </c:pt>
                <c:pt idx="461">
                  <c:v>-8.3622000000000002E-2</c:v>
                </c:pt>
                <c:pt idx="462">
                  <c:v>-0.18314</c:v>
                </c:pt>
                <c:pt idx="463">
                  <c:v>-8.5359000000000004E-2</c:v>
                </c:pt>
                <c:pt idx="464">
                  <c:v>-8.3839999999999998E-2</c:v>
                </c:pt>
                <c:pt idx="465">
                  <c:v>-0.123209</c:v>
                </c:pt>
                <c:pt idx="466">
                  <c:v>-8.5777000000000006E-2</c:v>
                </c:pt>
                <c:pt idx="467">
                  <c:v>-7.9007999999999995E-2</c:v>
                </c:pt>
                <c:pt idx="468">
                  <c:v>-9.5050999999999997E-2</c:v>
                </c:pt>
                <c:pt idx="469">
                  <c:v>-0.19772899999999999</c:v>
                </c:pt>
                <c:pt idx="470">
                  <c:v>-9.2090000000000005E-2</c:v>
                </c:pt>
                <c:pt idx="471">
                  <c:v>-0.126559</c:v>
                </c:pt>
                <c:pt idx="472">
                  <c:v>-0.14255399999999999</c:v>
                </c:pt>
                <c:pt idx="473">
                  <c:v>-0.13738500000000001</c:v>
                </c:pt>
                <c:pt idx="474">
                  <c:v>-0.14404800000000001</c:v>
                </c:pt>
                <c:pt idx="475">
                  <c:v>-0.190196</c:v>
                </c:pt>
                <c:pt idx="476">
                  <c:v>-0.28266999999999998</c:v>
                </c:pt>
                <c:pt idx="477">
                  <c:v>-0.17721000000000001</c:v>
                </c:pt>
                <c:pt idx="478">
                  <c:v>-0.209671</c:v>
                </c:pt>
                <c:pt idx="479">
                  <c:v>-0.238899</c:v>
                </c:pt>
                <c:pt idx="480">
                  <c:v>-0.25944600000000001</c:v>
                </c:pt>
                <c:pt idx="481">
                  <c:v>-0.29582199999999997</c:v>
                </c:pt>
                <c:pt idx="482">
                  <c:v>-0.31914799999999999</c:v>
                </c:pt>
                <c:pt idx="483">
                  <c:v>-0.37453399999999998</c:v>
                </c:pt>
                <c:pt idx="484">
                  <c:v>-0.245198</c:v>
                </c:pt>
                <c:pt idx="485">
                  <c:v>-0.21793599999999999</c:v>
                </c:pt>
                <c:pt idx="486">
                  <c:v>-0.17569699999999999</c:v>
                </c:pt>
                <c:pt idx="487">
                  <c:v>-9.3219999999999997E-2</c:v>
                </c:pt>
                <c:pt idx="488">
                  <c:v>-3.7109000000000003E-2</c:v>
                </c:pt>
                <c:pt idx="489">
                  <c:v>-1.9167E-2</c:v>
                </c:pt>
                <c:pt idx="490">
                  <c:v>-0.134911</c:v>
                </c:pt>
                <c:pt idx="491">
                  <c:v>-4.5622000000000003E-2</c:v>
                </c:pt>
                <c:pt idx="492">
                  <c:v>-8.9342000000000005E-2</c:v>
                </c:pt>
                <c:pt idx="493">
                  <c:v>-0.11615399999999999</c:v>
                </c:pt>
                <c:pt idx="494">
                  <c:v>-0.18593599999999999</c:v>
                </c:pt>
                <c:pt idx="495">
                  <c:v>-0.22641500000000001</c:v>
                </c:pt>
                <c:pt idx="496">
                  <c:v>-0.24555399999999999</c:v>
                </c:pt>
                <c:pt idx="497">
                  <c:v>-0.29521900000000001</c:v>
                </c:pt>
                <c:pt idx="498">
                  <c:v>-0.21723799999999999</c:v>
                </c:pt>
                <c:pt idx="499">
                  <c:v>-0.22658600000000001</c:v>
                </c:pt>
                <c:pt idx="500">
                  <c:v>-0.23671</c:v>
                </c:pt>
                <c:pt idx="501">
                  <c:v>-0.27874500000000002</c:v>
                </c:pt>
                <c:pt idx="502">
                  <c:v>-0.28195799999999999</c:v>
                </c:pt>
                <c:pt idx="503">
                  <c:v>-0.32355600000000001</c:v>
                </c:pt>
                <c:pt idx="504">
                  <c:v>-0.37153000000000003</c:v>
                </c:pt>
                <c:pt idx="505">
                  <c:v>-0.22558500000000001</c:v>
                </c:pt>
                <c:pt idx="506">
                  <c:v>-0.122959</c:v>
                </c:pt>
                <c:pt idx="507">
                  <c:v>3.0193000000000001E-2</c:v>
                </c:pt>
                <c:pt idx="508">
                  <c:v>0.17424200000000001</c:v>
                </c:pt>
                <c:pt idx="509">
                  <c:v>0.391598</c:v>
                </c:pt>
                <c:pt idx="510">
                  <c:v>0.50997099999999995</c:v>
                </c:pt>
                <c:pt idx="511">
                  <c:v>0.42244599999999999</c:v>
                </c:pt>
                <c:pt idx="512">
                  <c:v>0.70471399999999995</c:v>
                </c:pt>
                <c:pt idx="513">
                  <c:v>0.752637</c:v>
                </c:pt>
                <c:pt idx="514">
                  <c:v>0.81935400000000003</c:v>
                </c:pt>
                <c:pt idx="515">
                  <c:v>0.745861</c:v>
                </c:pt>
                <c:pt idx="516">
                  <c:v>0.84339600000000003</c:v>
                </c:pt>
                <c:pt idx="517">
                  <c:v>0.719858</c:v>
                </c:pt>
                <c:pt idx="518">
                  <c:v>0.52110599999999996</c:v>
                </c:pt>
                <c:pt idx="519">
                  <c:v>0.62207299999999999</c:v>
                </c:pt>
                <c:pt idx="520">
                  <c:v>0.55910099999999996</c:v>
                </c:pt>
                <c:pt idx="521">
                  <c:v>0.55828199999999994</c:v>
                </c:pt>
                <c:pt idx="522">
                  <c:v>0.46673399999999998</c:v>
                </c:pt>
                <c:pt idx="523">
                  <c:v>0.53453600000000001</c:v>
                </c:pt>
                <c:pt idx="524">
                  <c:v>0.40717700000000001</c:v>
                </c:pt>
                <c:pt idx="525">
                  <c:v>0.242474</c:v>
                </c:pt>
                <c:pt idx="526">
                  <c:v>0.27937800000000002</c:v>
                </c:pt>
                <c:pt idx="527">
                  <c:v>0.220114</c:v>
                </c:pt>
                <c:pt idx="528">
                  <c:v>0.191556</c:v>
                </c:pt>
                <c:pt idx="529">
                  <c:v>0.139737</c:v>
                </c:pt>
                <c:pt idx="530">
                  <c:v>0.15504899999999999</c:v>
                </c:pt>
                <c:pt idx="531">
                  <c:v>7.9986000000000002E-2</c:v>
                </c:pt>
                <c:pt idx="532">
                  <c:v>-5.7185E-2</c:v>
                </c:pt>
                <c:pt idx="533">
                  <c:v>3.2266999999999997E-2</c:v>
                </c:pt>
                <c:pt idx="534">
                  <c:v>-1.7276E-2</c:v>
                </c:pt>
                <c:pt idx="535">
                  <c:v>-3.124E-2</c:v>
                </c:pt>
                <c:pt idx="536">
                  <c:v>-8.1961999999999993E-2</c:v>
                </c:pt>
                <c:pt idx="537">
                  <c:v>-7.6711000000000001E-2</c:v>
                </c:pt>
                <c:pt idx="538">
                  <c:v>-0.119225</c:v>
                </c:pt>
                <c:pt idx="539">
                  <c:v>-0.210511</c:v>
                </c:pt>
                <c:pt idx="540">
                  <c:v>-9.9449999999999997E-2</c:v>
                </c:pt>
                <c:pt idx="541">
                  <c:v>-0.149587</c:v>
                </c:pt>
                <c:pt idx="542">
                  <c:v>-0.16036800000000001</c:v>
                </c:pt>
                <c:pt idx="543">
                  <c:v>-0.171318</c:v>
                </c:pt>
                <c:pt idx="544">
                  <c:v>-0.15695000000000001</c:v>
                </c:pt>
                <c:pt idx="545">
                  <c:v>-0.196853</c:v>
                </c:pt>
                <c:pt idx="546">
                  <c:v>-0.28667700000000002</c:v>
                </c:pt>
                <c:pt idx="547">
                  <c:v>-0.16828199999999999</c:v>
                </c:pt>
                <c:pt idx="548">
                  <c:v>-0.19758500000000001</c:v>
                </c:pt>
                <c:pt idx="549">
                  <c:v>-0.21353900000000001</c:v>
                </c:pt>
                <c:pt idx="550">
                  <c:v>-0.224988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C8-4E7B-83D3-5242563E84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HOSP_do_7_dne_7dni_shift7_100_000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53</c:f>
              <c:numCache>
                <c:formatCode>m/d/yyyy</c:formatCode>
                <c:ptCount val="55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</c:numCache>
            </c:numRef>
          </c:cat>
          <c:val>
            <c:numRef>
              <c:f>Sheet1!$B$2:$B$553</c:f>
              <c:numCache>
                <c:formatCode>#\ ##0.0</c:formatCode>
                <c:ptCount val="552"/>
                <c:pt idx="0">
                  <c:v>1.0091781</c:v>
                </c:pt>
                <c:pt idx="1">
                  <c:v>1.0278666000000001</c:v>
                </c:pt>
                <c:pt idx="2">
                  <c:v>1.0745878</c:v>
                </c:pt>
                <c:pt idx="3">
                  <c:v>0.94376839999999995</c:v>
                </c:pt>
                <c:pt idx="4">
                  <c:v>0.91573570000000004</c:v>
                </c:pt>
                <c:pt idx="5">
                  <c:v>1.0932763000000001</c:v>
                </c:pt>
                <c:pt idx="6">
                  <c:v>1.1960630000000001</c:v>
                </c:pt>
                <c:pt idx="7">
                  <c:v>1.3268823999999999</c:v>
                </c:pt>
                <c:pt idx="8">
                  <c:v>1.4763903</c:v>
                </c:pt>
                <c:pt idx="9">
                  <c:v>1.5324557000000001</c:v>
                </c:pt>
                <c:pt idx="10">
                  <c:v>1.5978654000000001</c:v>
                </c:pt>
                <c:pt idx="11">
                  <c:v>1.5885212</c:v>
                </c:pt>
                <c:pt idx="12">
                  <c:v>1.8875369</c:v>
                </c:pt>
                <c:pt idx="13">
                  <c:v>2.0277006000000002</c:v>
                </c:pt>
                <c:pt idx="14">
                  <c:v>2.121143</c:v>
                </c:pt>
                <c:pt idx="15">
                  <c:v>2.1585200000000002</c:v>
                </c:pt>
                <c:pt idx="16">
                  <c:v>2.2706509000000001</c:v>
                </c:pt>
                <c:pt idx="17">
                  <c:v>2.4388472999999999</c:v>
                </c:pt>
                <c:pt idx="18">
                  <c:v>2.5229453999999998</c:v>
                </c:pt>
                <c:pt idx="19">
                  <c:v>2.8313054000000002</c:v>
                </c:pt>
                <c:pt idx="20">
                  <c:v>3.3265503000000001</c:v>
                </c:pt>
                <c:pt idx="21">
                  <c:v>3.7470412</c:v>
                </c:pt>
                <c:pt idx="22">
                  <c:v>4.6908097</c:v>
                </c:pt>
                <c:pt idx="23">
                  <c:v>5.0645794000000004</c:v>
                </c:pt>
                <c:pt idx="24">
                  <c:v>5.2047431</c:v>
                </c:pt>
                <c:pt idx="25">
                  <c:v>5.2794970000000001</c:v>
                </c:pt>
                <c:pt idx="26">
                  <c:v>5.5878569999999996</c:v>
                </c:pt>
                <c:pt idx="27">
                  <c:v>6.1952328000000003</c:v>
                </c:pt>
                <c:pt idx="28">
                  <c:v>6.2512981999999999</c:v>
                </c:pt>
                <c:pt idx="29">
                  <c:v>6.9614605999999997</c:v>
                </c:pt>
                <c:pt idx="30">
                  <c:v>6.9147394000000002</c:v>
                </c:pt>
                <c:pt idx="31">
                  <c:v>7.1016243000000001</c:v>
                </c:pt>
                <c:pt idx="32">
                  <c:v>7.2885090999999997</c:v>
                </c:pt>
                <c:pt idx="33">
                  <c:v>7.7930982000000002</c:v>
                </c:pt>
                <c:pt idx="34">
                  <c:v>8.5873588999999999</c:v>
                </c:pt>
                <c:pt idx="35">
                  <c:v>9.2414558000000007</c:v>
                </c:pt>
                <c:pt idx="36">
                  <c:v>10.2599783</c:v>
                </c:pt>
                <c:pt idx="37">
                  <c:v>10.895386800000001</c:v>
                </c:pt>
                <c:pt idx="38">
                  <c:v>11.026206200000001</c:v>
                </c:pt>
                <c:pt idx="39">
                  <c:v>11.4280086</c:v>
                </c:pt>
                <c:pt idx="40">
                  <c:v>13.212758900000001</c:v>
                </c:pt>
                <c:pt idx="41">
                  <c:v>14.8012801</c:v>
                </c:pt>
                <c:pt idx="42">
                  <c:v>16.5486535</c:v>
                </c:pt>
                <c:pt idx="43">
                  <c:v>18.006355299999999</c:v>
                </c:pt>
                <c:pt idx="44">
                  <c:v>20.248973599999999</c:v>
                </c:pt>
                <c:pt idx="45">
                  <c:v>20.762906900000001</c:v>
                </c:pt>
                <c:pt idx="46">
                  <c:v>21.753396599999999</c:v>
                </c:pt>
                <c:pt idx="47">
                  <c:v>23.883883900000001</c:v>
                </c:pt>
                <c:pt idx="48">
                  <c:v>25.6686342</c:v>
                </c:pt>
                <c:pt idx="49">
                  <c:v>27.6122367</c:v>
                </c:pt>
                <c:pt idx="50">
                  <c:v>28.8550209</c:v>
                </c:pt>
                <c:pt idx="51">
                  <c:v>30.826656100000001</c:v>
                </c:pt>
                <c:pt idx="52">
                  <c:v>31.247146999999998</c:v>
                </c:pt>
                <c:pt idx="53">
                  <c:v>32.340423399999999</c:v>
                </c:pt>
                <c:pt idx="54">
                  <c:v>36.180907099999999</c:v>
                </c:pt>
                <c:pt idx="55">
                  <c:v>39.096310799999998</c:v>
                </c:pt>
                <c:pt idx="56">
                  <c:v>42.712532600000003</c:v>
                </c:pt>
                <c:pt idx="57">
                  <c:v>45.151379900000002</c:v>
                </c:pt>
                <c:pt idx="58">
                  <c:v>48.113504800000001</c:v>
                </c:pt>
                <c:pt idx="59">
                  <c:v>49.309567899999998</c:v>
                </c:pt>
                <c:pt idx="60">
                  <c:v>49.702026099999998</c:v>
                </c:pt>
                <c:pt idx="61">
                  <c:v>53.934967899999997</c:v>
                </c:pt>
                <c:pt idx="62">
                  <c:v>56.214963099999999</c:v>
                </c:pt>
                <c:pt idx="63">
                  <c:v>56.448569200000001</c:v>
                </c:pt>
                <c:pt idx="64">
                  <c:v>56.149553400000002</c:v>
                </c:pt>
                <c:pt idx="65">
                  <c:v>57.224141299999999</c:v>
                </c:pt>
                <c:pt idx="66">
                  <c:v>55.663652800000001</c:v>
                </c:pt>
                <c:pt idx="67">
                  <c:v>53.290215199999999</c:v>
                </c:pt>
                <c:pt idx="68">
                  <c:v>55.803816500000003</c:v>
                </c:pt>
                <c:pt idx="69">
                  <c:v>56.186930400000001</c:v>
                </c:pt>
                <c:pt idx="70">
                  <c:v>55.037588599999999</c:v>
                </c:pt>
                <c:pt idx="71">
                  <c:v>55.878570400000001</c:v>
                </c:pt>
                <c:pt idx="72">
                  <c:v>54.617097700000002</c:v>
                </c:pt>
                <c:pt idx="73">
                  <c:v>50.870056400000003</c:v>
                </c:pt>
                <c:pt idx="74">
                  <c:v>47.889243</c:v>
                </c:pt>
                <c:pt idx="75">
                  <c:v>48.945142400000002</c:v>
                </c:pt>
                <c:pt idx="76">
                  <c:v>47.393998199999999</c:v>
                </c:pt>
                <c:pt idx="77">
                  <c:v>45.5251497</c:v>
                </c:pt>
                <c:pt idx="78">
                  <c:v>43.5628587</c:v>
                </c:pt>
                <c:pt idx="79">
                  <c:v>41.516469600000001</c:v>
                </c:pt>
                <c:pt idx="80">
                  <c:v>38.143197999999998</c:v>
                </c:pt>
                <c:pt idx="81">
                  <c:v>35.648285299999998</c:v>
                </c:pt>
                <c:pt idx="82">
                  <c:v>38.227296199999998</c:v>
                </c:pt>
                <c:pt idx="83">
                  <c:v>36.293038000000003</c:v>
                </c:pt>
                <c:pt idx="84">
                  <c:v>34.685828299999997</c:v>
                </c:pt>
                <c:pt idx="85">
                  <c:v>32.471242799999999</c:v>
                </c:pt>
                <c:pt idx="86">
                  <c:v>30.695836700000001</c:v>
                </c:pt>
                <c:pt idx="87">
                  <c:v>27.4814173</c:v>
                </c:pt>
                <c:pt idx="88">
                  <c:v>26.0891251</c:v>
                </c:pt>
                <c:pt idx="89">
                  <c:v>28.116825800000001</c:v>
                </c:pt>
                <c:pt idx="90">
                  <c:v>27.331909400000001</c:v>
                </c:pt>
                <c:pt idx="91">
                  <c:v>27.892564</c:v>
                </c:pt>
                <c:pt idx="92">
                  <c:v>27.0235494</c:v>
                </c:pt>
                <c:pt idx="93">
                  <c:v>25.808797899999998</c:v>
                </c:pt>
                <c:pt idx="94">
                  <c:v>24.0520803</c:v>
                </c:pt>
                <c:pt idx="95">
                  <c:v>23.360606300000001</c:v>
                </c:pt>
                <c:pt idx="96">
                  <c:v>25.547159099999998</c:v>
                </c:pt>
                <c:pt idx="97">
                  <c:v>25.771420899999999</c:v>
                </c:pt>
                <c:pt idx="98">
                  <c:v>24.668800300000001</c:v>
                </c:pt>
                <c:pt idx="99">
                  <c:v>24.351095999999998</c:v>
                </c:pt>
                <c:pt idx="100">
                  <c:v>24.285686299999998</c:v>
                </c:pt>
                <c:pt idx="101">
                  <c:v>23.80913</c:v>
                </c:pt>
                <c:pt idx="102">
                  <c:v>23.4820815</c:v>
                </c:pt>
                <c:pt idx="103">
                  <c:v>26.135846399999998</c:v>
                </c:pt>
                <c:pt idx="104">
                  <c:v>26.6684682</c:v>
                </c:pt>
                <c:pt idx="105">
                  <c:v>26.9955167</c:v>
                </c:pt>
                <c:pt idx="106">
                  <c:v>27.574859700000001</c:v>
                </c:pt>
                <c:pt idx="107">
                  <c:v>27.4814173</c:v>
                </c:pt>
                <c:pt idx="108">
                  <c:v>26.2853542</c:v>
                </c:pt>
                <c:pt idx="109">
                  <c:v>25.500437900000001</c:v>
                </c:pt>
                <c:pt idx="110">
                  <c:v>28.929774900000002</c:v>
                </c:pt>
                <c:pt idx="111">
                  <c:v>29.126003999999998</c:v>
                </c:pt>
                <c:pt idx="112">
                  <c:v>29.350265799999999</c:v>
                </c:pt>
                <c:pt idx="113">
                  <c:v>28.8550209</c:v>
                </c:pt>
                <c:pt idx="114">
                  <c:v>29.023217299999999</c:v>
                </c:pt>
                <c:pt idx="115">
                  <c:v>28.228956700000001</c:v>
                </c:pt>
                <c:pt idx="116">
                  <c:v>28.313054900000001</c:v>
                </c:pt>
                <c:pt idx="117">
                  <c:v>31.3405895</c:v>
                </c:pt>
                <c:pt idx="118">
                  <c:v>31.480753100000001</c:v>
                </c:pt>
                <c:pt idx="119">
                  <c:v>32.256325199999999</c:v>
                </c:pt>
                <c:pt idx="120">
                  <c:v>29.957641599999999</c:v>
                </c:pt>
                <c:pt idx="121">
                  <c:v>28.864365200000002</c:v>
                </c:pt>
                <c:pt idx="122">
                  <c:v>28.191579699999998</c:v>
                </c:pt>
                <c:pt idx="123">
                  <c:v>29.453052499999998</c:v>
                </c:pt>
                <c:pt idx="124">
                  <c:v>34.143862200000001</c:v>
                </c:pt>
                <c:pt idx="125">
                  <c:v>36.863036800000003</c:v>
                </c:pt>
                <c:pt idx="126">
                  <c:v>39.385982300000002</c:v>
                </c:pt>
                <c:pt idx="127">
                  <c:v>40.357783499999996</c:v>
                </c:pt>
                <c:pt idx="128">
                  <c:v>41.441715700000003</c:v>
                </c:pt>
                <c:pt idx="129">
                  <c:v>43.646956899999999</c:v>
                </c:pt>
                <c:pt idx="130">
                  <c:v>44.646790899999999</c:v>
                </c:pt>
                <c:pt idx="131">
                  <c:v>47.861210300000003</c:v>
                </c:pt>
                <c:pt idx="132">
                  <c:v>49.561862400000003</c:v>
                </c:pt>
                <c:pt idx="133">
                  <c:v>49.571206699999998</c:v>
                </c:pt>
                <c:pt idx="134">
                  <c:v>48.720880600000001</c:v>
                </c:pt>
                <c:pt idx="135">
                  <c:v>48.543340000000001</c:v>
                </c:pt>
                <c:pt idx="136">
                  <c:v>49.692681800000003</c:v>
                </c:pt>
                <c:pt idx="137">
                  <c:v>47.543506000000001</c:v>
                </c:pt>
                <c:pt idx="138">
                  <c:v>48.720880600000001</c:v>
                </c:pt>
                <c:pt idx="139">
                  <c:v>47.599571500000003</c:v>
                </c:pt>
                <c:pt idx="140">
                  <c:v>44.207611499999999</c:v>
                </c:pt>
                <c:pt idx="141">
                  <c:v>40.787618700000003</c:v>
                </c:pt>
                <c:pt idx="142">
                  <c:v>38.6758199</c:v>
                </c:pt>
                <c:pt idx="143">
                  <c:v>35.564187099999998</c:v>
                </c:pt>
                <c:pt idx="144">
                  <c:v>33.321568900000003</c:v>
                </c:pt>
                <c:pt idx="145">
                  <c:v>35.433367699999998</c:v>
                </c:pt>
                <c:pt idx="146">
                  <c:v>34.9194344</c:v>
                </c:pt>
                <c:pt idx="147">
                  <c:v>33.583207700000003</c:v>
                </c:pt>
                <c:pt idx="148">
                  <c:v>32.676816100000003</c:v>
                </c:pt>
                <c:pt idx="149">
                  <c:v>33.022553100000003</c:v>
                </c:pt>
                <c:pt idx="150">
                  <c:v>31.022885200000001</c:v>
                </c:pt>
                <c:pt idx="151">
                  <c:v>30.350099799999999</c:v>
                </c:pt>
                <c:pt idx="152">
                  <c:v>32.499275500000003</c:v>
                </c:pt>
                <c:pt idx="153">
                  <c:v>32.312390700000002</c:v>
                </c:pt>
                <c:pt idx="154">
                  <c:v>31.705014899999998</c:v>
                </c:pt>
                <c:pt idx="155">
                  <c:v>31.789113100000002</c:v>
                </c:pt>
                <c:pt idx="156">
                  <c:v>31.807801600000001</c:v>
                </c:pt>
                <c:pt idx="157">
                  <c:v>29.845510699999998</c:v>
                </c:pt>
                <c:pt idx="158">
                  <c:v>29.4904294</c:v>
                </c:pt>
                <c:pt idx="159">
                  <c:v>32.723537399999998</c:v>
                </c:pt>
                <c:pt idx="160">
                  <c:v>33.685994299999997</c:v>
                </c:pt>
                <c:pt idx="161">
                  <c:v>33.3496016</c:v>
                </c:pt>
                <c:pt idx="162">
                  <c:v>33.0879628</c:v>
                </c:pt>
                <c:pt idx="163">
                  <c:v>33.190749500000003</c:v>
                </c:pt>
                <c:pt idx="164">
                  <c:v>31.789113100000002</c:v>
                </c:pt>
                <c:pt idx="165">
                  <c:v>31.639605199999998</c:v>
                </c:pt>
                <c:pt idx="166">
                  <c:v>33.7420598</c:v>
                </c:pt>
                <c:pt idx="167">
                  <c:v>33.9196004</c:v>
                </c:pt>
                <c:pt idx="168">
                  <c:v>33.480421</c:v>
                </c:pt>
                <c:pt idx="169">
                  <c:v>33.910256199999999</c:v>
                </c:pt>
                <c:pt idx="170">
                  <c:v>33.882223400000001</c:v>
                </c:pt>
                <c:pt idx="171">
                  <c:v>32.181571300000002</c:v>
                </c:pt>
                <c:pt idx="172">
                  <c:v>31.676982200000001</c:v>
                </c:pt>
                <c:pt idx="173">
                  <c:v>35.190417400000001</c:v>
                </c:pt>
                <c:pt idx="174">
                  <c:v>37.704018599999998</c:v>
                </c:pt>
                <c:pt idx="175">
                  <c:v>37.741395599999997</c:v>
                </c:pt>
                <c:pt idx="176">
                  <c:v>38.554344700000001</c:v>
                </c:pt>
                <c:pt idx="177">
                  <c:v>39.656965300000003</c:v>
                </c:pt>
                <c:pt idx="178">
                  <c:v>39.040245300000002</c:v>
                </c:pt>
                <c:pt idx="179">
                  <c:v>39.283195599999999</c:v>
                </c:pt>
                <c:pt idx="180">
                  <c:v>43.516137499999999</c:v>
                </c:pt>
                <c:pt idx="181">
                  <c:v>44.8243315</c:v>
                </c:pt>
                <c:pt idx="182">
                  <c:v>44.936462400000003</c:v>
                </c:pt>
                <c:pt idx="183">
                  <c:v>46.655802999999999</c:v>
                </c:pt>
                <c:pt idx="184">
                  <c:v>47.749079399999999</c:v>
                </c:pt>
                <c:pt idx="185">
                  <c:v>45.8335097</c:v>
                </c:pt>
                <c:pt idx="186">
                  <c:v>45.188756900000001</c:v>
                </c:pt>
                <c:pt idx="187">
                  <c:v>49.926287899999998</c:v>
                </c:pt>
                <c:pt idx="188">
                  <c:v>51.2438261</c:v>
                </c:pt>
                <c:pt idx="189">
                  <c:v>51.131695200000003</c:v>
                </c:pt>
                <c:pt idx="190">
                  <c:v>50.757925499999999</c:v>
                </c:pt>
                <c:pt idx="191">
                  <c:v>49.346944899999997</c:v>
                </c:pt>
                <c:pt idx="192">
                  <c:v>47.422030900000003</c:v>
                </c:pt>
                <c:pt idx="193">
                  <c:v>46.861376300000003</c:v>
                </c:pt>
                <c:pt idx="194">
                  <c:v>50.215959400000003</c:v>
                </c:pt>
                <c:pt idx="195">
                  <c:v>49.141371499999998</c:v>
                </c:pt>
                <c:pt idx="196">
                  <c:v>47.608915699999997</c:v>
                </c:pt>
                <c:pt idx="197">
                  <c:v>46.188590900000001</c:v>
                </c:pt>
                <c:pt idx="198">
                  <c:v>47.917275699999998</c:v>
                </c:pt>
                <c:pt idx="199">
                  <c:v>45.973673300000002</c:v>
                </c:pt>
                <c:pt idx="200">
                  <c:v>43.880563000000002</c:v>
                </c:pt>
                <c:pt idx="201">
                  <c:v>46.917441799999999</c:v>
                </c:pt>
                <c:pt idx="202">
                  <c:v>47.263178799999999</c:v>
                </c:pt>
                <c:pt idx="203">
                  <c:v>46.982851500000002</c:v>
                </c:pt>
                <c:pt idx="204">
                  <c:v>45.8335097</c:v>
                </c:pt>
                <c:pt idx="205">
                  <c:v>45.160724199999997</c:v>
                </c:pt>
                <c:pt idx="206">
                  <c:v>40.432537500000002</c:v>
                </c:pt>
                <c:pt idx="207">
                  <c:v>38.516967700000002</c:v>
                </c:pt>
                <c:pt idx="208">
                  <c:v>41.404338699999997</c:v>
                </c:pt>
                <c:pt idx="209">
                  <c:v>40.8623726</c:v>
                </c:pt>
                <c:pt idx="210">
                  <c:v>39.171064700000002</c:v>
                </c:pt>
                <c:pt idx="211">
                  <c:v>37.685330200000003</c:v>
                </c:pt>
                <c:pt idx="212">
                  <c:v>37.115331400000002</c:v>
                </c:pt>
                <c:pt idx="213">
                  <c:v>34.9661556</c:v>
                </c:pt>
                <c:pt idx="214">
                  <c:v>33.200093699999996</c:v>
                </c:pt>
                <c:pt idx="215">
                  <c:v>36.358447699999999</c:v>
                </c:pt>
                <c:pt idx="216">
                  <c:v>35.508121600000003</c:v>
                </c:pt>
                <c:pt idx="217">
                  <c:v>34.153206500000003</c:v>
                </c:pt>
                <c:pt idx="218">
                  <c:v>32.779602799999999</c:v>
                </c:pt>
                <c:pt idx="219">
                  <c:v>30.172559100000001</c:v>
                </c:pt>
                <c:pt idx="220">
                  <c:v>27.556171200000001</c:v>
                </c:pt>
                <c:pt idx="221">
                  <c:v>26.705845199999999</c:v>
                </c:pt>
                <c:pt idx="222">
                  <c:v>26.836664599999999</c:v>
                </c:pt>
                <c:pt idx="223">
                  <c:v>25.808797899999998</c:v>
                </c:pt>
                <c:pt idx="224">
                  <c:v>25.173389400000001</c:v>
                </c:pt>
                <c:pt idx="225">
                  <c:v>23.4820815</c:v>
                </c:pt>
                <c:pt idx="226">
                  <c:v>22.603722699999999</c:v>
                </c:pt>
                <c:pt idx="227">
                  <c:v>22.108477799999999</c:v>
                </c:pt>
                <c:pt idx="228">
                  <c:v>21.248807500000002</c:v>
                </c:pt>
                <c:pt idx="229">
                  <c:v>21.912248699999999</c:v>
                </c:pt>
                <c:pt idx="230">
                  <c:v>22.809296</c:v>
                </c:pt>
                <c:pt idx="231">
                  <c:v>21.407659599999999</c:v>
                </c:pt>
                <c:pt idx="232">
                  <c:v>19.6042208</c:v>
                </c:pt>
                <c:pt idx="233">
                  <c:v>18.894058399999999</c:v>
                </c:pt>
                <c:pt idx="234">
                  <c:v>17.3055372</c:v>
                </c:pt>
                <c:pt idx="235">
                  <c:v>16.277670499999999</c:v>
                </c:pt>
                <c:pt idx="236">
                  <c:v>17.464389300000001</c:v>
                </c:pt>
                <c:pt idx="237">
                  <c:v>17.2027505</c:v>
                </c:pt>
                <c:pt idx="238">
                  <c:v>16.473899599999999</c:v>
                </c:pt>
                <c:pt idx="239">
                  <c:v>15.604884999999999</c:v>
                </c:pt>
                <c:pt idx="240">
                  <c:v>14.717181999999999</c:v>
                </c:pt>
                <c:pt idx="241">
                  <c:v>13.3996438</c:v>
                </c:pt>
                <c:pt idx="242">
                  <c:v>12.867021899999999</c:v>
                </c:pt>
                <c:pt idx="243">
                  <c:v>13.9042329</c:v>
                </c:pt>
                <c:pt idx="244">
                  <c:v>13.408988000000001</c:v>
                </c:pt>
                <c:pt idx="245">
                  <c:v>12.7455468</c:v>
                </c:pt>
                <c:pt idx="246">
                  <c:v>12.0821056</c:v>
                </c:pt>
                <c:pt idx="247">
                  <c:v>11.6055492</c:v>
                </c:pt>
                <c:pt idx="248">
                  <c:v>10.979484899999999</c:v>
                </c:pt>
                <c:pt idx="249">
                  <c:v>10.764567400000001</c:v>
                </c:pt>
                <c:pt idx="250">
                  <c:v>11.4747298</c:v>
                </c:pt>
                <c:pt idx="251">
                  <c:v>10.895386800000001</c:v>
                </c:pt>
                <c:pt idx="252">
                  <c:v>10.091781900000001</c:v>
                </c:pt>
                <c:pt idx="253">
                  <c:v>9.5591600999999997</c:v>
                </c:pt>
                <c:pt idx="254">
                  <c:v>8.9144073000000006</c:v>
                </c:pt>
                <c:pt idx="255">
                  <c:v>7.9893273000000002</c:v>
                </c:pt>
                <c:pt idx="256">
                  <c:v>7.5875249</c:v>
                </c:pt>
                <c:pt idx="257">
                  <c:v>8.1668678999999997</c:v>
                </c:pt>
                <c:pt idx="258">
                  <c:v>7.7090000999999999</c:v>
                </c:pt>
                <c:pt idx="259">
                  <c:v>7.0922799999999997</c:v>
                </c:pt>
                <c:pt idx="260">
                  <c:v>6.6904776000000004</c:v>
                </c:pt>
                <c:pt idx="261">
                  <c:v>5.9990037000000003</c:v>
                </c:pt>
                <c:pt idx="262">
                  <c:v>5.5691685</c:v>
                </c:pt>
                <c:pt idx="263">
                  <c:v>5.3449067000000001</c:v>
                </c:pt>
                <c:pt idx="264">
                  <c:v>5.4757261000000002</c:v>
                </c:pt>
                <c:pt idx="265">
                  <c:v>4.9711369999999997</c:v>
                </c:pt>
                <c:pt idx="266">
                  <c:v>4.4758921000000003</c:v>
                </c:pt>
                <c:pt idx="267">
                  <c:v>4.1955648999999999</c:v>
                </c:pt>
                <c:pt idx="268">
                  <c:v>3.7376969999999998</c:v>
                </c:pt>
                <c:pt idx="269">
                  <c:v>3.4480255</c:v>
                </c:pt>
                <c:pt idx="270">
                  <c:v>3.2144194000000001</c:v>
                </c:pt>
                <c:pt idx="271">
                  <c:v>3.3452388000000002</c:v>
                </c:pt>
                <c:pt idx="272">
                  <c:v>3.1490097000000001</c:v>
                </c:pt>
                <c:pt idx="273">
                  <c:v>2.7845841999999998</c:v>
                </c:pt>
                <c:pt idx="274">
                  <c:v>2.4949127</c:v>
                </c:pt>
                <c:pt idx="275">
                  <c:v>2.3080278999999999</c:v>
                </c:pt>
                <c:pt idx="276">
                  <c:v>2.0744218000000001</c:v>
                </c:pt>
                <c:pt idx="277">
                  <c:v>1.9436024000000001</c:v>
                </c:pt>
                <c:pt idx="278">
                  <c:v>2.1117987999999999</c:v>
                </c:pt>
                <c:pt idx="279">
                  <c:v>1.9529466</c:v>
                </c:pt>
                <c:pt idx="280">
                  <c:v>1.6726194000000001</c:v>
                </c:pt>
                <c:pt idx="281">
                  <c:v>1.4483575</c:v>
                </c:pt>
                <c:pt idx="282">
                  <c:v>1.4203247999999999</c:v>
                </c:pt>
                <c:pt idx="283">
                  <c:v>1.2427842</c:v>
                </c:pt>
                <c:pt idx="284">
                  <c:v>1.1680303000000001</c:v>
                </c:pt>
                <c:pt idx="285">
                  <c:v>1.2054072</c:v>
                </c:pt>
                <c:pt idx="286">
                  <c:v>0.97180120000000003</c:v>
                </c:pt>
                <c:pt idx="287">
                  <c:v>0.87835870000000005</c:v>
                </c:pt>
                <c:pt idx="288">
                  <c:v>0.8409818</c:v>
                </c:pt>
                <c:pt idx="289">
                  <c:v>0.76622780000000001</c:v>
                </c:pt>
                <c:pt idx="290">
                  <c:v>0.63540839999999998</c:v>
                </c:pt>
                <c:pt idx="291">
                  <c:v>0.56999869999999997</c:v>
                </c:pt>
                <c:pt idx="292">
                  <c:v>0.59803150000000005</c:v>
                </c:pt>
                <c:pt idx="293">
                  <c:v>0.54196599999999995</c:v>
                </c:pt>
                <c:pt idx="294">
                  <c:v>0.61672000000000005</c:v>
                </c:pt>
                <c:pt idx="295">
                  <c:v>0.56999869999999997</c:v>
                </c:pt>
                <c:pt idx="296">
                  <c:v>0.54196599999999995</c:v>
                </c:pt>
                <c:pt idx="297">
                  <c:v>0.50458899999999995</c:v>
                </c:pt>
                <c:pt idx="298">
                  <c:v>0.47655629999999999</c:v>
                </c:pt>
                <c:pt idx="299">
                  <c:v>0.48590060000000002</c:v>
                </c:pt>
                <c:pt idx="300">
                  <c:v>0.43917929999999999</c:v>
                </c:pt>
                <c:pt idx="301">
                  <c:v>0.43917929999999999</c:v>
                </c:pt>
                <c:pt idx="302">
                  <c:v>0.2990157</c:v>
                </c:pt>
                <c:pt idx="303">
                  <c:v>0.27098299999999997</c:v>
                </c:pt>
                <c:pt idx="304">
                  <c:v>0.24295030000000001</c:v>
                </c:pt>
                <c:pt idx="305">
                  <c:v>0.21491750000000001</c:v>
                </c:pt>
                <c:pt idx="306">
                  <c:v>0.25229449999999998</c:v>
                </c:pt>
                <c:pt idx="307">
                  <c:v>0.22426180000000001</c:v>
                </c:pt>
                <c:pt idx="308">
                  <c:v>0.24295030000000001</c:v>
                </c:pt>
                <c:pt idx="309">
                  <c:v>0.20557329999999999</c:v>
                </c:pt>
                <c:pt idx="310">
                  <c:v>0.21491750000000001</c:v>
                </c:pt>
                <c:pt idx="311">
                  <c:v>0.19622899999999999</c:v>
                </c:pt>
                <c:pt idx="312">
                  <c:v>0.18688479999999999</c:v>
                </c:pt>
                <c:pt idx="313">
                  <c:v>0.19622899999999999</c:v>
                </c:pt>
                <c:pt idx="314">
                  <c:v>0.1495078</c:v>
                </c:pt>
                <c:pt idx="315">
                  <c:v>0.18688479999999999</c:v>
                </c:pt>
                <c:pt idx="316">
                  <c:v>0.16819629999999999</c:v>
                </c:pt>
                <c:pt idx="317">
                  <c:v>0.19622899999999999</c:v>
                </c:pt>
                <c:pt idx="318">
                  <c:v>0.21491750000000001</c:v>
                </c:pt>
                <c:pt idx="319">
                  <c:v>0.23360600000000001</c:v>
                </c:pt>
                <c:pt idx="320">
                  <c:v>0.27098299999999997</c:v>
                </c:pt>
                <c:pt idx="321">
                  <c:v>0.28967150000000003</c:v>
                </c:pt>
                <c:pt idx="322">
                  <c:v>0.33639269999999999</c:v>
                </c:pt>
                <c:pt idx="323">
                  <c:v>0.31770419999999999</c:v>
                </c:pt>
                <c:pt idx="324">
                  <c:v>0.32704840000000002</c:v>
                </c:pt>
                <c:pt idx="325">
                  <c:v>0.28967150000000003</c:v>
                </c:pt>
                <c:pt idx="326">
                  <c:v>0.28967150000000003</c:v>
                </c:pt>
                <c:pt idx="327">
                  <c:v>0.32704840000000002</c:v>
                </c:pt>
                <c:pt idx="328">
                  <c:v>0.31770419999999999</c:v>
                </c:pt>
                <c:pt idx="329">
                  <c:v>0.33639269999999999</c:v>
                </c:pt>
                <c:pt idx="330">
                  <c:v>0.32704840000000002</c:v>
                </c:pt>
                <c:pt idx="331">
                  <c:v>0.35508119999999999</c:v>
                </c:pt>
                <c:pt idx="332">
                  <c:v>0.33639269999999999</c:v>
                </c:pt>
                <c:pt idx="333">
                  <c:v>0.33639269999999999</c:v>
                </c:pt>
                <c:pt idx="334">
                  <c:v>0.39245809999999998</c:v>
                </c:pt>
                <c:pt idx="335">
                  <c:v>0.4018024</c:v>
                </c:pt>
                <c:pt idx="336">
                  <c:v>0.4018024</c:v>
                </c:pt>
                <c:pt idx="337">
                  <c:v>0.39245809999999998</c:v>
                </c:pt>
                <c:pt idx="338">
                  <c:v>0.4018024</c:v>
                </c:pt>
                <c:pt idx="339">
                  <c:v>0.38311390000000001</c:v>
                </c:pt>
                <c:pt idx="340">
                  <c:v>0.38311390000000001</c:v>
                </c:pt>
                <c:pt idx="341">
                  <c:v>0.43917929999999999</c:v>
                </c:pt>
                <c:pt idx="342">
                  <c:v>0.39245809999999998</c:v>
                </c:pt>
                <c:pt idx="343">
                  <c:v>0.36442540000000001</c:v>
                </c:pt>
                <c:pt idx="344">
                  <c:v>0.35508119999999999</c:v>
                </c:pt>
                <c:pt idx="345">
                  <c:v>0.35508119999999999</c:v>
                </c:pt>
                <c:pt idx="346">
                  <c:v>0.34573690000000001</c:v>
                </c:pt>
                <c:pt idx="347">
                  <c:v>0.32704840000000002</c:v>
                </c:pt>
                <c:pt idx="348">
                  <c:v>0.35508119999999999</c:v>
                </c:pt>
                <c:pt idx="349">
                  <c:v>0.32704840000000002</c:v>
                </c:pt>
                <c:pt idx="350">
                  <c:v>0.31770419999999999</c:v>
                </c:pt>
                <c:pt idx="351">
                  <c:v>0.30836000000000002</c:v>
                </c:pt>
                <c:pt idx="352">
                  <c:v>0.33639269999999999</c:v>
                </c:pt>
                <c:pt idx="353">
                  <c:v>0.34573690000000001</c:v>
                </c:pt>
                <c:pt idx="354">
                  <c:v>0.36442540000000001</c:v>
                </c:pt>
                <c:pt idx="355">
                  <c:v>0.42983510000000003</c:v>
                </c:pt>
                <c:pt idx="356">
                  <c:v>0.43917929999999999</c:v>
                </c:pt>
                <c:pt idx="357">
                  <c:v>0.47655629999999999</c:v>
                </c:pt>
                <c:pt idx="358">
                  <c:v>0.45786779999999999</c:v>
                </c:pt>
                <c:pt idx="359">
                  <c:v>0.47655629999999999</c:v>
                </c:pt>
                <c:pt idx="360">
                  <c:v>0.45786779999999999</c:v>
                </c:pt>
                <c:pt idx="361">
                  <c:v>0.45786779999999999</c:v>
                </c:pt>
                <c:pt idx="362">
                  <c:v>0.46721210000000002</c:v>
                </c:pt>
                <c:pt idx="363">
                  <c:v>0.42983510000000003</c:v>
                </c:pt>
                <c:pt idx="364">
                  <c:v>0.4018024</c:v>
                </c:pt>
                <c:pt idx="365">
                  <c:v>0.35508119999999999</c:v>
                </c:pt>
                <c:pt idx="366">
                  <c:v>0.39245809999999998</c:v>
                </c:pt>
                <c:pt idx="367">
                  <c:v>0.38311390000000001</c:v>
                </c:pt>
                <c:pt idx="368">
                  <c:v>0.37376969999999998</c:v>
                </c:pt>
                <c:pt idx="369">
                  <c:v>0.37376969999999998</c:v>
                </c:pt>
                <c:pt idx="370">
                  <c:v>0.34573690000000001</c:v>
                </c:pt>
                <c:pt idx="371">
                  <c:v>0.4018024</c:v>
                </c:pt>
                <c:pt idx="372">
                  <c:v>0.43917929999999999</c:v>
                </c:pt>
                <c:pt idx="373">
                  <c:v>0.56065449999999994</c:v>
                </c:pt>
                <c:pt idx="374">
                  <c:v>0.57934300000000005</c:v>
                </c:pt>
                <c:pt idx="375">
                  <c:v>0.58868719999999997</c:v>
                </c:pt>
                <c:pt idx="376">
                  <c:v>0.65409689999999998</c:v>
                </c:pt>
                <c:pt idx="377">
                  <c:v>0.72885089999999997</c:v>
                </c:pt>
                <c:pt idx="378">
                  <c:v>0.8222933</c:v>
                </c:pt>
                <c:pt idx="379">
                  <c:v>0.88770300000000002</c:v>
                </c:pt>
                <c:pt idx="380">
                  <c:v>0.93442420000000004</c:v>
                </c:pt>
                <c:pt idx="381">
                  <c:v>0.86901450000000002</c:v>
                </c:pt>
                <c:pt idx="382">
                  <c:v>0.86901450000000002</c:v>
                </c:pt>
                <c:pt idx="383">
                  <c:v>1.0185223999999999</c:v>
                </c:pt>
                <c:pt idx="384">
                  <c:v>1.1399975</c:v>
                </c:pt>
                <c:pt idx="385">
                  <c:v>1.1960630000000001</c:v>
                </c:pt>
                <c:pt idx="386">
                  <c:v>1.1867188</c:v>
                </c:pt>
                <c:pt idx="387">
                  <c:v>1.2801612</c:v>
                </c:pt>
                <c:pt idx="388">
                  <c:v>1.2427842</c:v>
                </c:pt>
                <c:pt idx="389">
                  <c:v>1.2054072</c:v>
                </c:pt>
                <c:pt idx="390">
                  <c:v>1.3829477999999999</c:v>
                </c:pt>
                <c:pt idx="391">
                  <c:v>1.3081939</c:v>
                </c:pt>
                <c:pt idx="392">
                  <c:v>1.1680303000000001</c:v>
                </c:pt>
                <c:pt idx="393">
                  <c:v>1.1213090999999999</c:v>
                </c:pt>
                <c:pt idx="394">
                  <c:v>1.2240956999999999</c:v>
                </c:pt>
                <c:pt idx="395">
                  <c:v>1.0652436000000001</c:v>
                </c:pt>
                <c:pt idx="396">
                  <c:v>1.1586860000000001</c:v>
                </c:pt>
                <c:pt idx="397">
                  <c:v>1.4203247999999999</c:v>
                </c:pt>
                <c:pt idx="398">
                  <c:v>1.3081939</c:v>
                </c:pt>
                <c:pt idx="399">
                  <c:v>1.4577017999999999</c:v>
                </c:pt>
                <c:pt idx="400">
                  <c:v>1.7193406</c:v>
                </c:pt>
                <c:pt idx="401">
                  <c:v>1.9249139</c:v>
                </c:pt>
                <c:pt idx="402">
                  <c:v>1.8968811999999999</c:v>
                </c:pt>
                <c:pt idx="403">
                  <c:v>1.9062254000000001</c:v>
                </c:pt>
                <c:pt idx="404">
                  <c:v>1.9903236</c:v>
                </c:pt>
                <c:pt idx="405">
                  <c:v>2.0837659999999998</c:v>
                </c:pt>
                <c:pt idx="406">
                  <c:v>2.4668800000000002</c:v>
                </c:pt>
                <c:pt idx="407">
                  <c:v>2.5696667</c:v>
                </c:pt>
                <c:pt idx="408">
                  <c:v>2.6350763000000001</c:v>
                </c:pt>
                <c:pt idx="409">
                  <c:v>2.504257</c:v>
                </c:pt>
                <c:pt idx="410">
                  <c:v>2.5229453999999998</c:v>
                </c:pt>
                <c:pt idx="411">
                  <c:v>3.1209769999999999</c:v>
                </c:pt>
                <c:pt idx="412">
                  <c:v>3.5227794000000001</c:v>
                </c:pt>
                <c:pt idx="413">
                  <c:v>3.5975332999999998</c:v>
                </c:pt>
                <c:pt idx="414">
                  <c:v>3.5975332999999998</c:v>
                </c:pt>
                <c:pt idx="415">
                  <c:v>3.9993357999999999</c:v>
                </c:pt>
                <c:pt idx="416">
                  <c:v>4.00868</c:v>
                </c:pt>
                <c:pt idx="417">
                  <c:v>4.1768764000000003</c:v>
                </c:pt>
                <c:pt idx="418">
                  <c:v>5.2421199999999999</c:v>
                </c:pt>
                <c:pt idx="419">
                  <c:v>5.7280205999999998</c:v>
                </c:pt>
                <c:pt idx="420">
                  <c:v>6.1765442999999998</c:v>
                </c:pt>
                <c:pt idx="421">
                  <c:v>6.7652315999999999</c:v>
                </c:pt>
                <c:pt idx="422">
                  <c:v>7.6996558000000004</c:v>
                </c:pt>
                <c:pt idx="423">
                  <c:v>7.6809672999999998</c:v>
                </c:pt>
                <c:pt idx="424">
                  <c:v>7.9519504000000003</c:v>
                </c:pt>
                <c:pt idx="425">
                  <c:v>9.6339140000000008</c:v>
                </c:pt>
                <c:pt idx="426">
                  <c:v>10.4935843</c:v>
                </c:pt>
                <c:pt idx="427">
                  <c:v>11.371943099999999</c:v>
                </c:pt>
                <c:pt idx="428">
                  <c:v>11.6242377</c:v>
                </c:pt>
                <c:pt idx="429">
                  <c:v>12.913743200000001</c:v>
                </c:pt>
                <c:pt idx="430">
                  <c:v>13.1847262</c:v>
                </c:pt>
                <c:pt idx="431">
                  <c:v>13.9229213</c:v>
                </c:pt>
                <c:pt idx="432">
                  <c:v>16.950455900000001</c:v>
                </c:pt>
                <c:pt idx="433">
                  <c:v>18.239961399999999</c:v>
                </c:pt>
                <c:pt idx="434">
                  <c:v>19.5388111</c:v>
                </c:pt>
                <c:pt idx="435">
                  <c:v>20.4545469</c:v>
                </c:pt>
                <c:pt idx="436">
                  <c:v>22.379460900000002</c:v>
                </c:pt>
                <c:pt idx="437">
                  <c:v>21.8935602</c:v>
                </c:pt>
                <c:pt idx="438">
                  <c:v>21.912248699999999</c:v>
                </c:pt>
                <c:pt idx="439">
                  <c:v>25.098635399999999</c:v>
                </c:pt>
                <c:pt idx="440">
                  <c:v>26.033059699999999</c:v>
                </c:pt>
                <c:pt idx="441">
                  <c:v>27.2571555</c:v>
                </c:pt>
                <c:pt idx="442">
                  <c:v>27.3692864</c:v>
                </c:pt>
                <c:pt idx="443">
                  <c:v>28.658791799999999</c:v>
                </c:pt>
                <c:pt idx="444">
                  <c:v>28.462562800000001</c:v>
                </c:pt>
                <c:pt idx="445">
                  <c:v>28.976496099999999</c:v>
                </c:pt>
                <c:pt idx="446">
                  <c:v>33.200093699999996</c:v>
                </c:pt>
                <c:pt idx="447">
                  <c:v>35.087630699999998</c:v>
                </c:pt>
                <c:pt idx="448">
                  <c:v>34.097141000000001</c:v>
                </c:pt>
                <c:pt idx="449">
                  <c:v>34.489599200000001</c:v>
                </c:pt>
                <c:pt idx="450">
                  <c:v>37.526477999999997</c:v>
                </c:pt>
                <c:pt idx="451">
                  <c:v>37.143364099999999</c:v>
                </c:pt>
                <c:pt idx="452">
                  <c:v>36.816315600000003</c:v>
                </c:pt>
                <c:pt idx="453">
                  <c:v>41.2081096</c:v>
                </c:pt>
                <c:pt idx="454">
                  <c:v>42.142533800000002</c:v>
                </c:pt>
                <c:pt idx="455">
                  <c:v>40.983847799999999</c:v>
                </c:pt>
                <c:pt idx="456">
                  <c:v>44.721544799999997</c:v>
                </c:pt>
                <c:pt idx="457">
                  <c:v>45.515805399999998</c:v>
                </c:pt>
                <c:pt idx="458">
                  <c:v>42.777942299999999</c:v>
                </c:pt>
                <c:pt idx="459">
                  <c:v>42.179910800000002</c:v>
                </c:pt>
                <c:pt idx="460">
                  <c:v>45.5718709</c:v>
                </c:pt>
                <c:pt idx="461">
                  <c:v>44.712200500000002</c:v>
                </c:pt>
                <c:pt idx="462">
                  <c:v>43.142367800000002</c:v>
                </c:pt>
                <c:pt idx="463">
                  <c:v>43.6563011</c:v>
                </c:pt>
                <c:pt idx="464">
                  <c:v>41.282863499999998</c:v>
                </c:pt>
                <c:pt idx="465">
                  <c:v>38.928114399999998</c:v>
                </c:pt>
                <c:pt idx="466">
                  <c:v>37.395658599999997</c:v>
                </c:pt>
                <c:pt idx="467">
                  <c:v>40.460570199999999</c:v>
                </c:pt>
                <c:pt idx="468">
                  <c:v>39.217785900000003</c:v>
                </c:pt>
                <c:pt idx="469">
                  <c:v>38.292705900000001</c:v>
                </c:pt>
                <c:pt idx="470">
                  <c:v>37.5358223</c:v>
                </c:pt>
                <c:pt idx="471">
                  <c:v>36.040743499999998</c:v>
                </c:pt>
                <c:pt idx="472">
                  <c:v>33.760748300000003</c:v>
                </c:pt>
                <c:pt idx="473">
                  <c:v>32.237636700000003</c:v>
                </c:pt>
                <c:pt idx="474">
                  <c:v>34.9661556</c:v>
                </c:pt>
                <c:pt idx="475">
                  <c:v>33.059930100000003</c:v>
                </c:pt>
                <c:pt idx="476">
                  <c:v>31.789113100000002</c:v>
                </c:pt>
                <c:pt idx="477">
                  <c:v>30.3781325</c:v>
                </c:pt>
                <c:pt idx="478">
                  <c:v>28.742889999999999</c:v>
                </c:pt>
                <c:pt idx="479">
                  <c:v>26.005026999999998</c:v>
                </c:pt>
                <c:pt idx="480">
                  <c:v>24.743554199999998</c:v>
                </c:pt>
                <c:pt idx="481">
                  <c:v>26.378796699999999</c:v>
                </c:pt>
                <c:pt idx="482">
                  <c:v>24.537980900000001</c:v>
                </c:pt>
                <c:pt idx="483">
                  <c:v>22.799951799999999</c:v>
                </c:pt>
                <c:pt idx="484">
                  <c:v>21.043234200000001</c:v>
                </c:pt>
                <c:pt idx="485">
                  <c:v>18.361436600000001</c:v>
                </c:pt>
                <c:pt idx="486">
                  <c:v>16.6140632</c:v>
                </c:pt>
                <c:pt idx="487">
                  <c:v>16.268326200000001</c:v>
                </c:pt>
                <c:pt idx="488">
                  <c:v>18.053076600000001</c:v>
                </c:pt>
                <c:pt idx="489">
                  <c:v>17.623241400000001</c:v>
                </c:pt>
                <c:pt idx="490">
                  <c:v>17.118652300000001</c:v>
                </c:pt>
                <c:pt idx="491">
                  <c:v>16.315047400000001</c:v>
                </c:pt>
                <c:pt idx="492">
                  <c:v>16.034720199999999</c:v>
                </c:pt>
                <c:pt idx="493">
                  <c:v>16.0440644</c:v>
                </c:pt>
                <c:pt idx="494">
                  <c:v>15.903900800000001</c:v>
                </c:pt>
                <c:pt idx="495">
                  <c:v>16.885046200000001</c:v>
                </c:pt>
                <c:pt idx="496">
                  <c:v>15.8478353</c:v>
                </c:pt>
                <c:pt idx="497">
                  <c:v>14.586362599999999</c:v>
                </c:pt>
                <c:pt idx="498">
                  <c:v>13.2034147</c:v>
                </c:pt>
                <c:pt idx="499">
                  <c:v>12.558661900000001</c:v>
                </c:pt>
                <c:pt idx="500">
                  <c:v>11.848499500000001</c:v>
                </c:pt>
                <c:pt idx="501">
                  <c:v>11.6803031</c:v>
                </c:pt>
                <c:pt idx="502">
                  <c:v>11.9699747</c:v>
                </c:pt>
                <c:pt idx="503">
                  <c:v>10.942107999999999</c:v>
                </c:pt>
                <c:pt idx="504">
                  <c:v>9.7086679999999994</c:v>
                </c:pt>
                <c:pt idx="505">
                  <c:v>8.8489976000000006</c:v>
                </c:pt>
                <c:pt idx="506">
                  <c:v>8.4752279000000001</c:v>
                </c:pt>
                <c:pt idx="507">
                  <c:v>7.8585079000000002</c:v>
                </c:pt>
                <c:pt idx="508">
                  <c:v>7.4660497000000001</c:v>
                </c:pt>
                <c:pt idx="509">
                  <c:v>8.4752279000000001</c:v>
                </c:pt>
                <c:pt idx="510">
                  <c:v>8.6527685999999999</c:v>
                </c:pt>
                <c:pt idx="511">
                  <c:v>9.1386692000000007</c:v>
                </c:pt>
                <c:pt idx="512">
                  <c:v>9.9422739999999994</c:v>
                </c:pt>
                <c:pt idx="513">
                  <c:v>10.932763700000001</c:v>
                </c:pt>
                <c:pt idx="514">
                  <c:v>11.194402500000001</c:v>
                </c:pt>
                <c:pt idx="515">
                  <c:v>11.764401299999999</c:v>
                </c:pt>
                <c:pt idx="516">
                  <c:v>14.2966911</c:v>
                </c:pt>
                <c:pt idx="517">
                  <c:v>15.5207868</c:v>
                </c:pt>
                <c:pt idx="518">
                  <c:v>17.6138972</c:v>
                </c:pt>
                <c:pt idx="519">
                  <c:v>18.763238999999999</c:v>
                </c:pt>
                <c:pt idx="520">
                  <c:v>20.5386451</c:v>
                </c:pt>
                <c:pt idx="521">
                  <c:v>20.3237275</c:v>
                </c:pt>
                <c:pt idx="522">
                  <c:v>21.725363900000001</c:v>
                </c:pt>
                <c:pt idx="523">
                  <c:v>25.117323899999999</c:v>
                </c:pt>
                <c:pt idx="524">
                  <c:v>27.1076476</c:v>
                </c:pt>
                <c:pt idx="525">
                  <c:v>28.574693700000001</c:v>
                </c:pt>
                <c:pt idx="526">
                  <c:v>29.322233099999998</c:v>
                </c:pt>
                <c:pt idx="527">
                  <c:v>30.5089519</c:v>
                </c:pt>
                <c:pt idx="528">
                  <c:v>30.0323955</c:v>
                </c:pt>
                <c:pt idx="529">
                  <c:v>30.630427000000001</c:v>
                </c:pt>
                <c:pt idx="530">
                  <c:v>34.106485300000003</c:v>
                </c:pt>
                <c:pt idx="531">
                  <c:v>34.498943400000002</c:v>
                </c:pt>
                <c:pt idx="532">
                  <c:v>34.564353099999998</c:v>
                </c:pt>
                <c:pt idx="533">
                  <c:v>34.414845300000003</c:v>
                </c:pt>
                <c:pt idx="534">
                  <c:v>34.237304700000003</c:v>
                </c:pt>
                <c:pt idx="535">
                  <c:v>32.489931300000002</c:v>
                </c:pt>
                <c:pt idx="536">
                  <c:v>31.658293700000002</c:v>
                </c:pt>
                <c:pt idx="537">
                  <c:v>35.106319200000002</c:v>
                </c:pt>
                <c:pt idx="538">
                  <c:v>33.732715599999999</c:v>
                </c:pt>
                <c:pt idx="539">
                  <c:v>33.293536199999998</c:v>
                </c:pt>
                <c:pt idx="540">
                  <c:v>32.209603999999999</c:v>
                </c:pt>
                <c:pt idx="541">
                  <c:v>31.0322295</c:v>
                </c:pt>
                <c:pt idx="542">
                  <c:v>28.845676699999999</c:v>
                </c:pt>
                <c:pt idx="543">
                  <c:v>28.415841499999999</c:v>
                </c:pt>
                <c:pt idx="544">
                  <c:v>30.920098500000002</c:v>
                </c:pt>
                <c:pt idx="545">
                  <c:v>28.836332500000001</c:v>
                </c:pt>
                <c:pt idx="546">
                  <c:v>27.341253699999999</c:v>
                </c:pt>
                <c:pt idx="547">
                  <c:v>26.014371199999999</c:v>
                </c:pt>
                <c:pt idx="548">
                  <c:v>24.771586899999999</c:v>
                </c:pt>
                <c:pt idx="549">
                  <c:v>23.080279000000001</c:v>
                </c:pt>
                <c:pt idx="550">
                  <c:v>22.2486415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HOSP_do_7_dne_7dni_shift7_100_000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53</c:f>
              <c:numCache>
                <c:formatCode>m/d/yyyy</c:formatCode>
                <c:ptCount val="55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</c:numCache>
            </c:numRef>
          </c:cat>
          <c:val>
            <c:numRef>
              <c:f>Sheet1!$B$2:$B$553</c:f>
              <c:numCache>
                <c:formatCode>0%</c:formatCode>
                <c:ptCount val="552"/>
                <c:pt idx="0">
                  <c:v>0.25581300000000001</c:v>
                </c:pt>
                <c:pt idx="1">
                  <c:v>8.9108000000000007E-2</c:v>
                </c:pt>
                <c:pt idx="2">
                  <c:v>0.22340399999999999</c:v>
                </c:pt>
                <c:pt idx="3">
                  <c:v>9.7824999999999995E-2</c:v>
                </c:pt>
                <c:pt idx="4">
                  <c:v>1.0309E-2</c:v>
                </c:pt>
                <c:pt idx="5">
                  <c:v>0.124999</c:v>
                </c:pt>
                <c:pt idx="6">
                  <c:v>0.18518499999999999</c:v>
                </c:pt>
                <c:pt idx="7">
                  <c:v>0.29090899999999997</c:v>
                </c:pt>
                <c:pt idx="8">
                  <c:v>0.373913</c:v>
                </c:pt>
                <c:pt idx="9">
                  <c:v>0.62376200000000004</c:v>
                </c:pt>
                <c:pt idx="10">
                  <c:v>0.74489799999999995</c:v>
                </c:pt>
                <c:pt idx="11">
                  <c:v>0.45299099999999998</c:v>
                </c:pt>
                <c:pt idx="12">
                  <c:v>0.57812399999999997</c:v>
                </c:pt>
                <c:pt idx="13">
                  <c:v>0.528169</c:v>
                </c:pt>
                <c:pt idx="14">
                  <c:v>0.43670799999999999</c:v>
                </c:pt>
                <c:pt idx="15">
                  <c:v>0.40853600000000001</c:v>
                </c:pt>
                <c:pt idx="16">
                  <c:v>0.42105199999999998</c:v>
                </c:pt>
                <c:pt idx="17">
                  <c:v>0.53529400000000005</c:v>
                </c:pt>
                <c:pt idx="18">
                  <c:v>0.33663300000000002</c:v>
                </c:pt>
                <c:pt idx="19">
                  <c:v>0.39631300000000003</c:v>
                </c:pt>
                <c:pt idx="20">
                  <c:v>0.56828100000000004</c:v>
                </c:pt>
                <c:pt idx="21">
                  <c:v>0.73592999999999997</c:v>
                </c:pt>
                <c:pt idx="22">
                  <c:v>1.0658430000000001</c:v>
                </c:pt>
                <c:pt idx="23">
                  <c:v>1.0766279999999999</c:v>
                </c:pt>
                <c:pt idx="24">
                  <c:v>1.0629630000000001</c:v>
                </c:pt>
                <c:pt idx="25">
                  <c:v>0.86468599999999995</c:v>
                </c:pt>
                <c:pt idx="26">
                  <c:v>0.67977500000000002</c:v>
                </c:pt>
                <c:pt idx="27">
                  <c:v>0.653366</c:v>
                </c:pt>
                <c:pt idx="28">
                  <c:v>0.33266899999999999</c:v>
                </c:pt>
                <c:pt idx="29">
                  <c:v>0.37453799999999998</c:v>
                </c:pt>
                <c:pt idx="30">
                  <c:v>0.32854499999999998</c:v>
                </c:pt>
                <c:pt idx="31">
                  <c:v>0.34513199999999999</c:v>
                </c:pt>
                <c:pt idx="32">
                  <c:v>0.30434699999999998</c:v>
                </c:pt>
                <c:pt idx="33">
                  <c:v>0.25791799999999998</c:v>
                </c:pt>
                <c:pt idx="34">
                  <c:v>0.37369200000000002</c:v>
                </c:pt>
                <c:pt idx="35">
                  <c:v>0.32751599999999997</c:v>
                </c:pt>
                <c:pt idx="36">
                  <c:v>0.48378300000000002</c:v>
                </c:pt>
                <c:pt idx="37">
                  <c:v>0.53420999999999996</c:v>
                </c:pt>
                <c:pt idx="38">
                  <c:v>0.51282000000000005</c:v>
                </c:pt>
                <c:pt idx="39">
                  <c:v>0.46642600000000001</c:v>
                </c:pt>
                <c:pt idx="40">
                  <c:v>0.538628</c:v>
                </c:pt>
                <c:pt idx="41">
                  <c:v>0.60161699999999996</c:v>
                </c:pt>
                <c:pt idx="42">
                  <c:v>0.61293200000000003</c:v>
                </c:pt>
                <c:pt idx="43">
                  <c:v>0.65265799999999996</c:v>
                </c:pt>
                <c:pt idx="44">
                  <c:v>0.83643999999999996</c:v>
                </c:pt>
                <c:pt idx="45">
                  <c:v>0.81684299999999999</c:v>
                </c:pt>
                <c:pt idx="46">
                  <c:v>0.646393</c:v>
                </c:pt>
                <c:pt idx="47">
                  <c:v>0.61363599999999996</c:v>
                </c:pt>
                <c:pt idx="48">
                  <c:v>0.55110099999999995</c:v>
                </c:pt>
                <c:pt idx="49">
                  <c:v>0.53347100000000003</c:v>
                </c:pt>
                <c:pt idx="50">
                  <c:v>0.42501100000000003</c:v>
                </c:pt>
                <c:pt idx="51">
                  <c:v>0.48469800000000002</c:v>
                </c:pt>
                <c:pt idx="52">
                  <c:v>0.43642599999999998</c:v>
                </c:pt>
                <c:pt idx="53">
                  <c:v>0.35406799999999999</c:v>
                </c:pt>
                <c:pt idx="54">
                  <c:v>0.40953699999999998</c:v>
                </c:pt>
                <c:pt idx="55">
                  <c:v>0.41590500000000002</c:v>
                </c:pt>
                <c:pt idx="56">
                  <c:v>0.48024600000000001</c:v>
                </c:pt>
                <c:pt idx="57">
                  <c:v>0.46468599999999999</c:v>
                </c:pt>
                <c:pt idx="58">
                  <c:v>0.53977200000000003</c:v>
                </c:pt>
                <c:pt idx="59">
                  <c:v>0.52470300000000003</c:v>
                </c:pt>
                <c:pt idx="60">
                  <c:v>0.37370799999999998</c:v>
                </c:pt>
                <c:pt idx="61">
                  <c:v>0.37954100000000002</c:v>
                </c:pt>
                <c:pt idx="62">
                  <c:v>0.31612299999999999</c:v>
                </c:pt>
                <c:pt idx="63">
                  <c:v>0.25020599999999998</c:v>
                </c:pt>
                <c:pt idx="64">
                  <c:v>0.167022</c:v>
                </c:pt>
                <c:pt idx="65">
                  <c:v>0.16050700000000001</c:v>
                </c:pt>
                <c:pt idx="66">
                  <c:v>0.119947</c:v>
                </c:pt>
                <c:pt idx="67">
                  <c:v>-1.1953999999999999E-2</c:v>
                </c:pt>
                <c:pt idx="68">
                  <c:v>-7.3130000000000001E-3</c:v>
                </c:pt>
                <c:pt idx="69">
                  <c:v>-4.6340000000000001E-3</c:v>
                </c:pt>
                <c:pt idx="70">
                  <c:v>-1.9803000000000001E-2</c:v>
                </c:pt>
                <c:pt idx="71">
                  <c:v>-2.3514E-2</c:v>
                </c:pt>
                <c:pt idx="72">
                  <c:v>-1.8800999999999998E-2</c:v>
                </c:pt>
                <c:pt idx="73">
                  <c:v>-4.5414000000000003E-2</c:v>
                </c:pt>
                <c:pt idx="74">
                  <c:v>-0.14182800000000001</c:v>
                </c:pt>
                <c:pt idx="75">
                  <c:v>-0.128887</c:v>
                </c:pt>
                <c:pt idx="76">
                  <c:v>-0.138879</c:v>
                </c:pt>
                <c:pt idx="77">
                  <c:v>-0.185284</c:v>
                </c:pt>
                <c:pt idx="78">
                  <c:v>-0.20239499999999999</c:v>
                </c:pt>
                <c:pt idx="79">
                  <c:v>-0.18387200000000001</c:v>
                </c:pt>
                <c:pt idx="80">
                  <c:v>-0.203512</c:v>
                </c:pt>
                <c:pt idx="81">
                  <c:v>-0.27166800000000002</c:v>
                </c:pt>
                <c:pt idx="82">
                  <c:v>-0.193414</c:v>
                </c:pt>
                <c:pt idx="83">
                  <c:v>-0.202791</c:v>
                </c:pt>
                <c:pt idx="84">
                  <c:v>-0.20377500000000001</c:v>
                </c:pt>
                <c:pt idx="85">
                  <c:v>-0.21787000000000001</c:v>
                </c:pt>
                <c:pt idx="86">
                  <c:v>-0.195247</c:v>
                </c:pt>
                <c:pt idx="87">
                  <c:v>-0.22909499999999999</c:v>
                </c:pt>
                <c:pt idx="88">
                  <c:v>-0.31752599999999997</c:v>
                </c:pt>
                <c:pt idx="89">
                  <c:v>-0.22528300000000001</c:v>
                </c:pt>
                <c:pt idx="90">
                  <c:v>-0.21201500000000001</c:v>
                </c:pt>
                <c:pt idx="91">
                  <c:v>-0.14100699999999999</c:v>
                </c:pt>
                <c:pt idx="92">
                  <c:v>-0.119634</c:v>
                </c:pt>
                <c:pt idx="93">
                  <c:v>-6.0863E-2</c:v>
                </c:pt>
                <c:pt idx="94">
                  <c:v>-7.8079999999999997E-2</c:v>
                </c:pt>
                <c:pt idx="95">
                  <c:v>-0.169159</c:v>
                </c:pt>
                <c:pt idx="96">
                  <c:v>-6.5298999999999996E-2</c:v>
                </c:pt>
                <c:pt idx="97">
                  <c:v>-7.6046000000000002E-2</c:v>
                </c:pt>
                <c:pt idx="98">
                  <c:v>-8.7136000000000005E-2</c:v>
                </c:pt>
                <c:pt idx="99">
                  <c:v>-5.6480000000000002E-2</c:v>
                </c:pt>
                <c:pt idx="100">
                  <c:v>9.7120000000000001E-3</c:v>
                </c:pt>
                <c:pt idx="101">
                  <c:v>1.9199999999999998E-2</c:v>
                </c:pt>
                <c:pt idx="102">
                  <c:v>-8.0833000000000002E-2</c:v>
                </c:pt>
                <c:pt idx="103">
                  <c:v>1.414E-2</c:v>
                </c:pt>
                <c:pt idx="104">
                  <c:v>8.1059999999999993E-2</c:v>
                </c:pt>
                <c:pt idx="105">
                  <c:v>0.108595</c:v>
                </c:pt>
                <c:pt idx="106">
                  <c:v>0.135436</c:v>
                </c:pt>
                <c:pt idx="107">
                  <c:v>0.15423799999999999</c:v>
                </c:pt>
                <c:pt idx="108">
                  <c:v>0.119379</c:v>
                </c:pt>
                <c:pt idx="109">
                  <c:v>-2.4310999999999999E-2</c:v>
                </c:pt>
                <c:pt idx="110">
                  <c:v>8.4792999999999993E-2</c:v>
                </c:pt>
                <c:pt idx="111">
                  <c:v>7.8920000000000004E-2</c:v>
                </c:pt>
                <c:pt idx="112">
                  <c:v>6.4383999999999997E-2</c:v>
                </c:pt>
                <c:pt idx="113">
                  <c:v>4.9981999999999999E-2</c:v>
                </c:pt>
                <c:pt idx="114">
                  <c:v>0.104159</c:v>
                </c:pt>
                <c:pt idx="115">
                  <c:v>0.106998</c:v>
                </c:pt>
                <c:pt idx="116">
                  <c:v>-2.1316999999999999E-2</c:v>
                </c:pt>
                <c:pt idx="117">
                  <c:v>7.6034000000000004E-2</c:v>
                </c:pt>
                <c:pt idx="118">
                  <c:v>7.2588E-2</c:v>
                </c:pt>
                <c:pt idx="119">
                  <c:v>0.11787499999999999</c:v>
                </c:pt>
                <c:pt idx="120">
                  <c:v>3.2195000000000001E-2</c:v>
                </c:pt>
                <c:pt idx="121">
                  <c:v>2.2509000000000001E-2</c:v>
                </c:pt>
                <c:pt idx="122">
                  <c:v>-4.2900000000000004E-3</c:v>
                </c:pt>
                <c:pt idx="123">
                  <c:v>-6.0226000000000002E-2</c:v>
                </c:pt>
                <c:pt idx="124">
                  <c:v>8.4594000000000003E-2</c:v>
                </c:pt>
                <c:pt idx="125">
                  <c:v>0.142815</c:v>
                </c:pt>
                <c:pt idx="126">
                  <c:v>0.314722</c:v>
                </c:pt>
                <c:pt idx="127">
                  <c:v>0.39818700000000001</c:v>
                </c:pt>
                <c:pt idx="128">
                  <c:v>0.470003</c:v>
                </c:pt>
                <c:pt idx="129">
                  <c:v>0.48191600000000001</c:v>
                </c:pt>
                <c:pt idx="130">
                  <c:v>0.30760799999999999</c:v>
                </c:pt>
                <c:pt idx="131">
                  <c:v>0.29835200000000001</c:v>
                </c:pt>
                <c:pt idx="132">
                  <c:v>0.25836199999999998</c:v>
                </c:pt>
                <c:pt idx="133">
                  <c:v>0.228293</c:v>
                </c:pt>
                <c:pt idx="134">
                  <c:v>0.175648</c:v>
                </c:pt>
                <c:pt idx="135">
                  <c:v>0.112181</c:v>
                </c:pt>
                <c:pt idx="136">
                  <c:v>0.11301700000000001</c:v>
                </c:pt>
                <c:pt idx="137">
                  <c:v>-6.6379999999999998E-3</c:v>
                </c:pt>
                <c:pt idx="138">
                  <c:v>-1.6968E-2</c:v>
                </c:pt>
                <c:pt idx="139">
                  <c:v>-3.9773000000000003E-2</c:v>
                </c:pt>
                <c:pt idx="140">
                  <c:v>-9.2634999999999995E-2</c:v>
                </c:pt>
                <c:pt idx="141">
                  <c:v>-0.15976899999999999</c:v>
                </c:pt>
                <c:pt idx="142">
                  <c:v>-0.22169900000000001</c:v>
                </c:pt>
                <c:pt idx="143">
                  <c:v>-0.25196499999999999</c:v>
                </c:pt>
                <c:pt idx="144">
                  <c:v>-0.31607200000000002</c:v>
                </c:pt>
                <c:pt idx="145">
                  <c:v>-0.25559399999999999</c:v>
                </c:pt>
                <c:pt idx="146">
                  <c:v>-0.21010300000000001</c:v>
                </c:pt>
                <c:pt idx="147">
                  <c:v>-0.17663200000000001</c:v>
                </c:pt>
                <c:pt idx="148">
                  <c:v>-0.155109</c:v>
                </c:pt>
                <c:pt idx="149">
                  <c:v>-7.1466000000000002E-2</c:v>
                </c:pt>
                <c:pt idx="150">
                  <c:v>-6.8984000000000004E-2</c:v>
                </c:pt>
                <c:pt idx="151">
                  <c:v>-0.143459</c:v>
                </c:pt>
                <c:pt idx="152">
                  <c:v>-6.9306000000000006E-2</c:v>
                </c:pt>
                <c:pt idx="153">
                  <c:v>-3.7839999999999999E-2</c:v>
                </c:pt>
                <c:pt idx="154">
                  <c:v>-2.9739000000000002E-2</c:v>
                </c:pt>
                <c:pt idx="155">
                  <c:v>-3.7351000000000002E-2</c:v>
                </c:pt>
                <c:pt idx="156">
                  <c:v>2.5301000000000001E-2</c:v>
                </c:pt>
                <c:pt idx="157">
                  <c:v>-1.6625000000000001E-2</c:v>
                </c:pt>
                <c:pt idx="158">
                  <c:v>-9.2580999999999997E-2</c:v>
                </c:pt>
                <c:pt idx="159">
                  <c:v>1.2723999999999999E-2</c:v>
                </c:pt>
                <c:pt idx="160">
                  <c:v>6.2481000000000002E-2</c:v>
                </c:pt>
                <c:pt idx="161">
                  <c:v>4.9088E-2</c:v>
                </c:pt>
                <c:pt idx="162">
                  <c:v>4.0245999999999997E-2</c:v>
                </c:pt>
                <c:pt idx="163">
                  <c:v>0.112085</c:v>
                </c:pt>
                <c:pt idx="164">
                  <c:v>7.7946000000000001E-2</c:v>
                </c:pt>
                <c:pt idx="165">
                  <c:v>-3.3123E-2</c:v>
                </c:pt>
                <c:pt idx="166">
                  <c:v>1.6639999999999999E-3</c:v>
                </c:pt>
                <c:pt idx="167">
                  <c:v>1.7090999999999999E-2</c:v>
                </c:pt>
                <c:pt idx="168">
                  <c:v>1.1861E-2</c:v>
                </c:pt>
                <c:pt idx="169">
                  <c:v>2.1676999999999998E-2</c:v>
                </c:pt>
                <c:pt idx="170">
                  <c:v>6.5842999999999999E-2</c:v>
                </c:pt>
                <c:pt idx="171">
                  <c:v>1.7128999999999998E-2</c:v>
                </c:pt>
                <c:pt idx="172">
                  <c:v>-6.1200999999999998E-2</c:v>
                </c:pt>
                <c:pt idx="173">
                  <c:v>3.7464999999999998E-2</c:v>
                </c:pt>
                <c:pt idx="174">
                  <c:v>0.12615100000000001</c:v>
                </c:pt>
                <c:pt idx="175">
                  <c:v>0.112978</c:v>
                </c:pt>
                <c:pt idx="176">
                  <c:v>0.13789199999999999</c:v>
                </c:pt>
                <c:pt idx="177">
                  <c:v>0.23228799999999999</c:v>
                </c:pt>
                <c:pt idx="178">
                  <c:v>0.23244799999999999</c:v>
                </c:pt>
                <c:pt idx="179">
                  <c:v>0.116303</c:v>
                </c:pt>
                <c:pt idx="180">
                  <c:v>0.15415100000000001</c:v>
                </c:pt>
                <c:pt idx="181">
                  <c:v>0.18767</c:v>
                </c:pt>
                <c:pt idx="182">
                  <c:v>0.16553499999999999</c:v>
                </c:pt>
                <c:pt idx="183">
                  <c:v>0.176484</c:v>
                </c:pt>
                <c:pt idx="184">
                  <c:v>0.22307299999999999</c:v>
                </c:pt>
                <c:pt idx="185">
                  <c:v>0.166745</c:v>
                </c:pt>
                <c:pt idx="186">
                  <c:v>3.8435999999999998E-2</c:v>
                </c:pt>
                <c:pt idx="187">
                  <c:v>0.11382100000000001</c:v>
                </c:pt>
                <c:pt idx="188">
                  <c:v>0.14036100000000001</c:v>
                </c:pt>
                <c:pt idx="189">
                  <c:v>9.5934000000000005E-2</c:v>
                </c:pt>
                <c:pt idx="190">
                  <c:v>6.3013E-2</c:v>
                </c:pt>
                <c:pt idx="191">
                  <c:v>7.6656000000000002E-2</c:v>
                </c:pt>
                <c:pt idx="192">
                  <c:v>4.9421E-2</c:v>
                </c:pt>
                <c:pt idx="193">
                  <c:v>-6.1387999999999998E-2</c:v>
                </c:pt>
                <c:pt idx="194">
                  <c:v>-2.0057999999999999E-2</c:v>
                </c:pt>
                <c:pt idx="195">
                  <c:v>-3.8925000000000001E-2</c:v>
                </c:pt>
                <c:pt idx="196">
                  <c:v>-6.2038999999999997E-2</c:v>
                </c:pt>
                <c:pt idx="197">
                  <c:v>-6.4003000000000004E-2</c:v>
                </c:pt>
                <c:pt idx="198">
                  <c:v>1.0442999999999999E-2</c:v>
                </c:pt>
                <c:pt idx="199">
                  <c:v>-1.8943000000000002E-2</c:v>
                </c:pt>
                <c:pt idx="200">
                  <c:v>-0.126163</c:v>
                </c:pt>
                <c:pt idx="201">
                  <c:v>-4.5254999999999997E-2</c:v>
                </c:pt>
                <c:pt idx="202">
                  <c:v>-7.2620000000000002E-3</c:v>
                </c:pt>
                <c:pt idx="203">
                  <c:v>1.7195999999999999E-2</c:v>
                </c:pt>
                <c:pt idx="204">
                  <c:v>-4.3485999999999997E-2</c:v>
                </c:pt>
                <c:pt idx="205">
                  <c:v>-1.7682E-2</c:v>
                </c:pt>
                <c:pt idx="206">
                  <c:v>-7.8576999999999994E-2</c:v>
                </c:pt>
                <c:pt idx="207">
                  <c:v>-0.17904700000000001</c:v>
                </c:pt>
                <c:pt idx="208">
                  <c:v>-0.123962</c:v>
                </c:pt>
                <c:pt idx="209">
                  <c:v>-0.13027</c:v>
                </c:pt>
                <c:pt idx="210">
                  <c:v>-0.14536099999999999</c:v>
                </c:pt>
                <c:pt idx="211">
                  <c:v>-0.16552800000000001</c:v>
                </c:pt>
                <c:pt idx="212">
                  <c:v>-8.2042000000000004E-2</c:v>
                </c:pt>
                <c:pt idx="213">
                  <c:v>-9.2188000000000006E-2</c:v>
                </c:pt>
                <c:pt idx="214">
                  <c:v>-0.19814899999999999</c:v>
                </c:pt>
                <c:pt idx="215">
                  <c:v>-0.110221</c:v>
                </c:pt>
                <c:pt idx="216">
                  <c:v>-9.3510999999999997E-2</c:v>
                </c:pt>
                <c:pt idx="217">
                  <c:v>-9.3726000000000004E-2</c:v>
                </c:pt>
                <c:pt idx="218">
                  <c:v>-0.116817</c:v>
                </c:pt>
                <c:pt idx="219">
                  <c:v>-0.13709199999999999</c:v>
                </c:pt>
                <c:pt idx="220">
                  <c:v>-0.16999700000000001</c:v>
                </c:pt>
                <c:pt idx="221">
                  <c:v>-0.265484</c:v>
                </c:pt>
                <c:pt idx="222">
                  <c:v>-0.24421000000000001</c:v>
                </c:pt>
                <c:pt idx="223">
                  <c:v>-0.24432200000000001</c:v>
                </c:pt>
                <c:pt idx="224">
                  <c:v>-0.232041</c:v>
                </c:pt>
                <c:pt idx="225">
                  <c:v>-0.22173999999999999</c:v>
                </c:pt>
                <c:pt idx="226">
                  <c:v>-0.17972099999999999</c:v>
                </c:pt>
                <c:pt idx="227">
                  <c:v>-0.172148</c:v>
                </c:pt>
                <c:pt idx="228">
                  <c:v>-0.20821700000000001</c:v>
                </c:pt>
                <c:pt idx="229">
                  <c:v>-0.150977</c:v>
                </c:pt>
                <c:pt idx="230">
                  <c:v>-9.3911999999999995E-2</c:v>
                </c:pt>
                <c:pt idx="231">
                  <c:v>-8.8340000000000002E-2</c:v>
                </c:pt>
                <c:pt idx="232">
                  <c:v>-0.13269900000000001</c:v>
                </c:pt>
                <c:pt idx="233">
                  <c:v>-0.14539299999999999</c:v>
                </c:pt>
                <c:pt idx="234">
                  <c:v>-0.18557599999999999</c:v>
                </c:pt>
                <c:pt idx="235">
                  <c:v>-0.25714199999999998</c:v>
                </c:pt>
                <c:pt idx="236">
                  <c:v>-0.23433000000000001</c:v>
                </c:pt>
                <c:pt idx="237">
                  <c:v>-0.19642000000000001</c:v>
                </c:pt>
                <c:pt idx="238">
                  <c:v>-0.15967500000000001</c:v>
                </c:pt>
                <c:pt idx="239">
                  <c:v>-0.17408499999999999</c:v>
                </c:pt>
                <c:pt idx="240">
                  <c:v>-0.14956800000000001</c:v>
                </c:pt>
                <c:pt idx="241">
                  <c:v>-0.17680799999999999</c:v>
                </c:pt>
                <c:pt idx="242">
                  <c:v>-0.26324199999999998</c:v>
                </c:pt>
                <c:pt idx="243">
                  <c:v>-0.191743</c:v>
                </c:pt>
                <c:pt idx="244">
                  <c:v>-0.18604599999999999</c:v>
                </c:pt>
                <c:pt idx="245">
                  <c:v>-0.18323300000000001</c:v>
                </c:pt>
                <c:pt idx="246">
                  <c:v>-0.17904700000000001</c:v>
                </c:pt>
                <c:pt idx="247">
                  <c:v>-0.13389100000000001</c:v>
                </c:pt>
                <c:pt idx="248">
                  <c:v>-0.14669499999999999</c:v>
                </c:pt>
                <c:pt idx="249">
                  <c:v>-0.22580600000000001</c:v>
                </c:pt>
                <c:pt idx="250">
                  <c:v>-0.14424999999999999</c:v>
                </c:pt>
                <c:pt idx="251">
                  <c:v>-0.14516100000000001</c:v>
                </c:pt>
                <c:pt idx="252">
                  <c:v>-0.16473299999999999</c:v>
                </c:pt>
                <c:pt idx="253">
                  <c:v>-0.17632800000000001</c:v>
                </c:pt>
                <c:pt idx="254">
                  <c:v>-0.188085</c:v>
                </c:pt>
                <c:pt idx="255">
                  <c:v>-0.25781199999999999</c:v>
                </c:pt>
                <c:pt idx="256">
                  <c:v>-0.33876200000000001</c:v>
                </c:pt>
                <c:pt idx="257">
                  <c:v>-0.25042799999999998</c:v>
                </c:pt>
                <c:pt idx="258">
                  <c:v>-0.23611099999999999</c:v>
                </c:pt>
                <c:pt idx="259">
                  <c:v>-0.25806400000000002</c:v>
                </c:pt>
                <c:pt idx="260">
                  <c:v>-0.249475</c:v>
                </c:pt>
                <c:pt idx="261">
                  <c:v>-0.24912200000000001</c:v>
                </c:pt>
                <c:pt idx="262">
                  <c:v>-0.266009</c:v>
                </c:pt>
                <c:pt idx="263">
                  <c:v>-0.34553699999999998</c:v>
                </c:pt>
                <c:pt idx="264">
                  <c:v>-0.28969600000000001</c:v>
                </c:pt>
                <c:pt idx="265">
                  <c:v>-0.29907699999999998</c:v>
                </c:pt>
                <c:pt idx="266">
                  <c:v>-0.33100499999999999</c:v>
                </c:pt>
                <c:pt idx="267">
                  <c:v>-0.30062299999999997</c:v>
                </c:pt>
                <c:pt idx="268">
                  <c:v>-0.32885900000000001</c:v>
                </c:pt>
                <c:pt idx="269">
                  <c:v>-0.35489500000000002</c:v>
                </c:pt>
                <c:pt idx="270">
                  <c:v>-0.41296899999999997</c:v>
                </c:pt>
                <c:pt idx="271">
                  <c:v>-0.327067</c:v>
                </c:pt>
                <c:pt idx="272">
                  <c:v>-0.29644999999999999</c:v>
                </c:pt>
                <c:pt idx="273">
                  <c:v>-0.33630199999999999</c:v>
                </c:pt>
                <c:pt idx="274">
                  <c:v>-0.33250000000000002</c:v>
                </c:pt>
                <c:pt idx="275">
                  <c:v>-0.330623</c:v>
                </c:pt>
                <c:pt idx="276">
                  <c:v>-0.35465099999999999</c:v>
                </c:pt>
                <c:pt idx="277">
                  <c:v>-0.41899399999999998</c:v>
                </c:pt>
                <c:pt idx="278">
                  <c:v>-0.329376</c:v>
                </c:pt>
                <c:pt idx="279">
                  <c:v>-0.29865700000000001</c:v>
                </c:pt>
                <c:pt idx="280">
                  <c:v>-0.32958799999999999</c:v>
                </c:pt>
                <c:pt idx="281">
                  <c:v>-0.37246899999999999</c:v>
                </c:pt>
                <c:pt idx="282">
                  <c:v>-0.31531500000000001</c:v>
                </c:pt>
                <c:pt idx="283">
                  <c:v>-0.36057600000000001</c:v>
                </c:pt>
                <c:pt idx="284">
                  <c:v>-0.44690200000000002</c:v>
                </c:pt>
                <c:pt idx="285">
                  <c:v>-0.38277499999999998</c:v>
                </c:pt>
                <c:pt idx="286">
                  <c:v>-0.41899399999999998</c:v>
                </c:pt>
                <c:pt idx="287">
                  <c:v>-0.39354800000000001</c:v>
                </c:pt>
                <c:pt idx="288">
                  <c:v>-0.40789399999999998</c:v>
                </c:pt>
                <c:pt idx="289">
                  <c:v>-0.38345800000000002</c:v>
                </c:pt>
                <c:pt idx="290">
                  <c:v>-0.45600000000000002</c:v>
                </c:pt>
                <c:pt idx="291">
                  <c:v>-0.52713100000000002</c:v>
                </c:pt>
                <c:pt idx="292">
                  <c:v>-0.38461499999999998</c:v>
                </c:pt>
                <c:pt idx="293">
                  <c:v>-0.38297799999999999</c:v>
                </c:pt>
                <c:pt idx="294">
                  <c:v>-0.26666600000000001</c:v>
                </c:pt>
                <c:pt idx="295">
                  <c:v>-0.25609700000000002</c:v>
                </c:pt>
                <c:pt idx="296">
                  <c:v>-0.14705799999999999</c:v>
                </c:pt>
                <c:pt idx="297">
                  <c:v>-0.11475399999999999</c:v>
                </c:pt>
                <c:pt idx="298">
                  <c:v>-0.203125</c:v>
                </c:pt>
                <c:pt idx="299">
                  <c:v>-0.103448</c:v>
                </c:pt>
                <c:pt idx="300">
                  <c:v>-0.28787800000000002</c:v>
                </c:pt>
                <c:pt idx="301">
                  <c:v>-0.22950799999999999</c:v>
                </c:pt>
                <c:pt idx="302">
                  <c:v>-0.44827499999999998</c:v>
                </c:pt>
                <c:pt idx="303">
                  <c:v>-0.46296199999999998</c:v>
                </c:pt>
                <c:pt idx="304">
                  <c:v>-0.49019600000000002</c:v>
                </c:pt>
                <c:pt idx="305">
                  <c:v>-0.55769199999999997</c:v>
                </c:pt>
                <c:pt idx="306">
                  <c:v>-0.42553099999999999</c:v>
                </c:pt>
                <c:pt idx="307">
                  <c:v>-0.48936099999999999</c:v>
                </c:pt>
                <c:pt idx="308">
                  <c:v>-0.187499</c:v>
                </c:pt>
                <c:pt idx="309">
                  <c:v>-0.24137900000000001</c:v>
                </c:pt>
                <c:pt idx="310">
                  <c:v>-0.115384</c:v>
                </c:pt>
                <c:pt idx="311">
                  <c:v>-8.6956000000000006E-2</c:v>
                </c:pt>
                <c:pt idx="312">
                  <c:v>-0.25925900000000002</c:v>
                </c:pt>
                <c:pt idx="313">
                  <c:v>-0.125</c:v>
                </c:pt>
                <c:pt idx="314">
                  <c:v>-0.38461499999999998</c:v>
                </c:pt>
                <c:pt idx="315">
                  <c:v>-9.0909000000000004E-2</c:v>
                </c:pt>
                <c:pt idx="316">
                  <c:v>-0.217391</c:v>
                </c:pt>
                <c:pt idx="317">
                  <c:v>0</c:v>
                </c:pt>
                <c:pt idx="318">
                  <c:v>0.14999899999999999</c:v>
                </c:pt>
                <c:pt idx="319">
                  <c:v>0.19047600000000001</c:v>
                </c:pt>
                <c:pt idx="320">
                  <c:v>0.8125</c:v>
                </c:pt>
                <c:pt idx="321">
                  <c:v>0.55000000000000004</c:v>
                </c:pt>
                <c:pt idx="322">
                  <c:v>1</c:v>
                </c:pt>
                <c:pt idx="323">
                  <c:v>0.61904800000000004</c:v>
                </c:pt>
                <c:pt idx="324">
                  <c:v>0.52173899999999995</c:v>
                </c:pt>
                <c:pt idx="325">
                  <c:v>0.24</c:v>
                </c:pt>
                <c:pt idx="326">
                  <c:v>6.8964999999999999E-2</c:v>
                </c:pt>
                <c:pt idx="327">
                  <c:v>0.12903200000000001</c:v>
                </c:pt>
                <c:pt idx="328">
                  <c:v>-5.5555E-2</c:v>
                </c:pt>
                <c:pt idx="329">
                  <c:v>5.8823E-2</c:v>
                </c:pt>
                <c:pt idx="330">
                  <c:v>0</c:v>
                </c:pt>
                <c:pt idx="331">
                  <c:v>0.22580600000000001</c:v>
                </c:pt>
                <c:pt idx="332">
                  <c:v>0.16128999999999999</c:v>
                </c:pt>
                <c:pt idx="333">
                  <c:v>2.8570999999999999E-2</c:v>
                </c:pt>
                <c:pt idx="334">
                  <c:v>0.235294</c:v>
                </c:pt>
                <c:pt idx="335">
                  <c:v>0.19444400000000001</c:v>
                </c:pt>
                <c:pt idx="336">
                  <c:v>0.228571</c:v>
                </c:pt>
                <c:pt idx="337">
                  <c:v>0.10526199999999999</c:v>
                </c:pt>
                <c:pt idx="338">
                  <c:v>0.19444400000000001</c:v>
                </c:pt>
                <c:pt idx="339">
                  <c:v>0.13888800000000001</c:v>
                </c:pt>
                <c:pt idx="340">
                  <c:v>-2.3809E-2</c:v>
                </c:pt>
                <c:pt idx="341">
                  <c:v>9.3022999999999995E-2</c:v>
                </c:pt>
                <c:pt idx="342">
                  <c:v>-2.3255000000000001E-2</c:v>
                </c:pt>
                <c:pt idx="343">
                  <c:v>-7.1428000000000005E-2</c:v>
                </c:pt>
                <c:pt idx="344">
                  <c:v>-0.11627899999999999</c:v>
                </c:pt>
                <c:pt idx="345">
                  <c:v>-7.3169999999999999E-2</c:v>
                </c:pt>
                <c:pt idx="346">
                  <c:v>-9.7560999999999995E-2</c:v>
                </c:pt>
                <c:pt idx="347">
                  <c:v>-0.25531900000000002</c:v>
                </c:pt>
                <c:pt idx="348">
                  <c:v>-9.5237000000000002E-2</c:v>
                </c:pt>
                <c:pt idx="349">
                  <c:v>-0.102564</c:v>
                </c:pt>
                <c:pt idx="350">
                  <c:v>-0.105263</c:v>
                </c:pt>
                <c:pt idx="351">
                  <c:v>-0.131578</c:v>
                </c:pt>
                <c:pt idx="352">
                  <c:v>-2.7026000000000001E-2</c:v>
                </c:pt>
                <c:pt idx="353">
                  <c:v>5.7141999999999998E-2</c:v>
                </c:pt>
                <c:pt idx="354">
                  <c:v>2.6315000000000002E-2</c:v>
                </c:pt>
                <c:pt idx="355">
                  <c:v>0.31428499999999998</c:v>
                </c:pt>
                <c:pt idx="356">
                  <c:v>0.38235200000000003</c:v>
                </c:pt>
                <c:pt idx="357">
                  <c:v>0.54545399999999999</c:v>
                </c:pt>
                <c:pt idx="358">
                  <c:v>0.36110999999999999</c:v>
                </c:pt>
                <c:pt idx="359">
                  <c:v>0.37837799999999999</c:v>
                </c:pt>
                <c:pt idx="360">
                  <c:v>0.25641000000000003</c:v>
                </c:pt>
                <c:pt idx="361">
                  <c:v>6.5216999999999997E-2</c:v>
                </c:pt>
                <c:pt idx="362">
                  <c:v>6.3828999999999997E-2</c:v>
                </c:pt>
                <c:pt idx="363">
                  <c:v>-9.8039000000000001E-2</c:v>
                </c:pt>
                <c:pt idx="364">
                  <c:v>-0.122448</c:v>
                </c:pt>
                <c:pt idx="365">
                  <c:v>-0.25490099999999999</c:v>
                </c:pt>
                <c:pt idx="366">
                  <c:v>-0.14285700000000001</c:v>
                </c:pt>
                <c:pt idx="367">
                  <c:v>-0.16326499999999999</c:v>
                </c:pt>
                <c:pt idx="368">
                  <c:v>-0.19999900000000001</c:v>
                </c:pt>
                <c:pt idx="369">
                  <c:v>-0.13043399999999999</c:v>
                </c:pt>
                <c:pt idx="370">
                  <c:v>-0.13953499999999999</c:v>
                </c:pt>
                <c:pt idx="371">
                  <c:v>0.131578</c:v>
                </c:pt>
                <c:pt idx="372">
                  <c:v>0.119047</c:v>
                </c:pt>
                <c:pt idx="373">
                  <c:v>0.46341399999999999</c:v>
                </c:pt>
                <c:pt idx="374">
                  <c:v>0.54999900000000002</c:v>
                </c:pt>
                <c:pt idx="375">
                  <c:v>0.57499900000000004</c:v>
                </c:pt>
                <c:pt idx="376">
                  <c:v>0.89189200000000002</c:v>
                </c:pt>
                <c:pt idx="377">
                  <c:v>0.81395300000000004</c:v>
                </c:pt>
                <c:pt idx="378">
                  <c:v>0.87234</c:v>
                </c:pt>
                <c:pt idx="379">
                  <c:v>0.58333299999999999</c:v>
                </c:pt>
                <c:pt idx="380">
                  <c:v>0.61290299999999998</c:v>
                </c:pt>
                <c:pt idx="381">
                  <c:v>0.47619</c:v>
                </c:pt>
                <c:pt idx="382">
                  <c:v>0.328571</c:v>
                </c:pt>
                <c:pt idx="383">
                  <c:v>0.39743499999999998</c:v>
                </c:pt>
                <c:pt idx="384">
                  <c:v>0.38636300000000001</c:v>
                </c:pt>
                <c:pt idx="385">
                  <c:v>0.34736800000000001</c:v>
                </c:pt>
                <c:pt idx="386">
                  <c:v>0.27</c:v>
                </c:pt>
                <c:pt idx="387">
                  <c:v>0.47311799999999998</c:v>
                </c:pt>
                <c:pt idx="388">
                  <c:v>0.43010700000000002</c:v>
                </c:pt>
                <c:pt idx="389">
                  <c:v>0.18348600000000001</c:v>
                </c:pt>
                <c:pt idx="390">
                  <c:v>0.213114</c:v>
                </c:pt>
                <c:pt idx="391">
                  <c:v>9.3748999999999999E-2</c:v>
                </c:pt>
                <c:pt idx="392">
                  <c:v>-1.5748000000000002E-2</c:v>
                </c:pt>
                <c:pt idx="393">
                  <c:v>-0.124087</c:v>
                </c:pt>
                <c:pt idx="394">
                  <c:v>-1.5037E-2</c:v>
                </c:pt>
                <c:pt idx="395">
                  <c:v>-0.11627899999999999</c:v>
                </c:pt>
                <c:pt idx="396">
                  <c:v>-0.162162</c:v>
                </c:pt>
                <c:pt idx="397">
                  <c:v>8.5713999999999999E-2</c:v>
                </c:pt>
                <c:pt idx="398">
                  <c:v>0.11999899999999999</c:v>
                </c:pt>
                <c:pt idx="399">
                  <c:v>0.29999900000000002</c:v>
                </c:pt>
                <c:pt idx="400">
                  <c:v>0.40458</c:v>
                </c:pt>
                <c:pt idx="401">
                  <c:v>0.80701699999999998</c:v>
                </c:pt>
                <c:pt idx="402">
                  <c:v>0.637096</c:v>
                </c:pt>
                <c:pt idx="403">
                  <c:v>0.34210499999999999</c:v>
                </c:pt>
                <c:pt idx="404">
                  <c:v>0.521428</c:v>
                </c:pt>
                <c:pt idx="405">
                  <c:v>0.42948700000000001</c:v>
                </c:pt>
                <c:pt idx="406">
                  <c:v>0.434782</c:v>
                </c:pt>
                <c:pt idx="407">
                  <c:v>0.334951</c:v>
                </c:pt>
                <c:pt idx="408">
                  <c:v>0.38916200000000001</c:v>
                </c:pt>
                <c:pt idx="409">
                  <c:v>0.31372499999999998</c:v>
                </c:pt>
                <c:pt idx="410">
                  <c:v>0.26760499999999998</c:v>
                </c:pt>
                <c:pt idx="411">
                  <c:v>0.49775700000000001</c:v>
                </c:pt>
                <c:pt idx="412">
                  <c:v>0.42803000000000002</c:v>
                </c:pt>
                <c:pt idx="413">
                  <c:v>0.39999899999999999</c:v>
                </c:pt>
                <c:pt idx="414">
                  <c:v>0.36524800000000002</c:v>
                </c:pt>
                <c:pt idx="415">
                  <c:v>0.59701400000000004</c:v>
                </c:pt>
                <c:pt idx="416">
                  <c:v>0.58888799999999997</c:v>
                </c:pt>
                <c:pt idx="417">
                  <c:v>0.33832299999999998</c:v>
                </c:pt>
                <c:pt idx="418">
                  <c:v>0.48806300000000002</c:v>
                </c:pt>
                <c:pt idx="419">
                  <c:v>0.59220700000000004</c:v>
                </c:pt>
                <c:pt idx="420">
                  <c:v>0.71688300000000005</c:v>
                </c:pt>
                <c:pt idx="421">
                  <c:v>0.69158799999999998</c:v>
                </c:pt>
                <c:pt idx="422">
                  <c:v>0.92074500000000004</c:v>
                </c:pt>
                <c:pt idx="423">
                  <c:v>0.83892599999999995</c:v>
                </c:pt>
                <c:pt idx="424">
                  <c:v>0.516934</c:v>
                </c:pt>
                <c:pt idx="425">
                  <c:v>0.68189200000000005</c:v>
                </c:pt>
                <c:pt idx="426">
                  <c:v>0.69894000000000001</c:v>
                </c:pt>
                <c:pt idx="427">
                  <c:v>0.68093899999999996</c:v>
                </c:pt>
                <c:pt idx="428">
                  <c:v>0.50970800000000005</c:v>
                </c:pt>
                <c:pt idx="429">
                  <c:v>0.68126500000000001</c:v>
                </c:pt>
                <c:pt idx="430">
                  <c:v>0.658049</c:v>
                </c:pt>
                <c:pt idx="431">
                  <c:v>0.44519799999999998</c:v>
                </c:pt>
                <c:pt idx="432">
                  <c:v>0.61531599999999997</c:v>
                </c:pt>
                <c:pt idx="433">
                  <c:v>0.60394400000000004</c:v>
                </c:pt>
                <c:pt idx="434">
                  <c:v>0.68086800000000003</c:v>
                </c:pt>
                <c:pt idx="435">
                  <c:v>0.58393600000000001</c:v>
                </c:pt>
                <c:pt idx="436">
                  <c:v>0.69737700000000002</c:v>
                </c:pt>
                <c:pt idx="437">
                  <c:v>0.57248299999999996</c:v>
                </c:pt>
                <c:pt idx="438">
                  <c:v>0.29272300000000001</c:v>
                </c:pt>
                <c:pt idx="439">
                  <c:v>0.37602400000000002</c:v>
                </c:pt>
                <c:pt idx="440">
                  <c:v>0.332376</c:v>
                </c:pt>
                <c:pt idx="441">
                  <c:v>0.33257100000000001</c:v>
                </c:pt>
                <c:pt idx="442">
                  <c:v>0.222964</c:v>
                </c:pt>
                <c:pt idx="443">
                  <c:v>0.30900499999999997</c:v>
                </c:pt>
                <c:pt idx="444">
                  <c:v>0.298933</c:v>
                </c:pt>
                <c:pt idx="445">
                  <c:v>0.154504</c:v>
                </c:pt>
                <c:pt idx="446">
                  <c:v>0.27530500000000002</c:v>
                </c:pt>
                <c:pt idx="447">
                  <c:v>0.28728100000000001</c:v>
                </c:pt>
                <c:pt idx="448">
                  <c:v>0.24581700000000001</c:v>
                </c:pt>
                <c:pt idx="449">
                  <c:v>0.203456</c:v>
                </c:pt>
                <c:pt idx="450">
                  <c:v>0.31845000000000001</c:v>
                </c:pt>
                <c:pt idx="451">
                  <c:v>0.28184399999999998</c:v>
                </c:pt>
                <c:pt idx="452">
                  <c:v>0.108922</c:v>
                </c:pt>
                <c:pt idx="453">
                  <c:v>0.17443400000000001</c:v>
                </c:pt>
                <c:pt idx="454">
                  <c:v>0.235955</c:v>
                </c:pt>
                <c:pt idx="455">
                  <c:v>0.18829499999999999</c:v>
                </c:pt>
                <c:pt idx="456">
                  <c:v>0.19173299999999999</c:v>
                </c:pt>
                <c:pt idx="457">
                  <c:v>0.225408</c:v>
                </c:pt>
                <c:pt idx="458">
                  <c:v>0.16192799999999999</c:v>
                </c:pt>
                <c:pt idx="459">
                  <c:v>2.3581999999999999E-2</c:v>
                </c:pt>
                <c:pt idx="460">
                  <c:v>8.1374000000000002E-2</c:v>
                </c:pt>
                <c:pt idx="461">
                  <c:v>9.0970999999999996E-2</c:v>
                </c:pt>
                <c:pt idx="462">
                  <c:v>-3.5311000000000002E-2</c:v>
                </c:pt>
                <c:pt idx="463">
                  <c:v>-4.0854000000000001E-2</c:v>
                </c:pt>
                <c:pt idx="464">
                  <c:v>-3.4949000000000001E-2</c:v>
                </c:pt>
                <c:pt idx="465">
                  <c:v>-7.7092999999999995E-2</c:v>
                </c:pt>
                <c:pt idx="466">
                  <c:v>-0.17941299999999999</c:v>
                </c:pt>
                <c:pt idx="467">
                  <c:v>-9.5088000000000006E-2</c:v>
                </c:pt>
                <c:pt idx="468">
                  <c:v>-9.0967999999999993E-2</c:v>
                </c:pt>
                <c:pt idx="469">
                  <c:v>-0.122859</c:v>
                </c:pt>
                <c:pt idx="470">
                  <c:v>-9.0764999999999998E-2</c:v>
                </c:pt>
                <c:pt idx="471">
                  <c:v>-7.4171000000000001E-2</c:v>
                </c:pt>
                <c:pt idx="472">
                  <c:v>-9.7200999999999996E-2</c:v>
                </c:pt>
                <c:pt idx="473">
                  <c:v>-0.203233</c:v>
                </c:pt>
                <c:pt idx="474">
                  <c:v>-0.10841000000000001</c:v>
                </c:pt>
                <c:pt idx="475">
                  <c:v>-0.136652</c:v>
                </c:pt>
                <c:pt idx="476">
                  <c:v>-0.15309900000000001</c:v>
                </c:pt>
                <c:pt idx="477">
                  <c:v>-0.15711600000000001</c:v>
                </c:pt>
                <c:pt idx="478">
                  <c:v>-0.14862900000000001</c:v>
                </c:pt>
                <c:pt idx="479">
                  <c:v>-0.193333</c:v>
                </c:pt>
                <c:pt idx="480">
                  <c:v>-0.29235699999999998</c:v>
                </c:pt>
                <c:pt idx="481">
                  <c:v>-0.20209099999999999</c:v>
                </c:pt>
                <c:pt idx="482">
                  <c:v>-0.228101</c:v>
                </c:pt>
                <c:pt idx="483">
                  <c:v>-0.24946099999999999</c:v>
                </c:pt>
                <c:pt idx="484">
                  <c:v>-0.26788000000000001</c:v>
                </c:pt>
                <c:pt idx="485">
                  <c:v>-0.29392699999999999</c:v>
                </c:pt>
                <c:pt idx="486">
                  <c:v>-0.32854899999999998</c:v>
                </c:pt>
                <c:pt idx="487">
                  <c:v>-0.38328000000000001</c:v>
                </c:pt>
                <c:pt idx="488">
                  <c:v>-0.26428000000000001</c:v>
                </c:pt>
                <c:pt idx="489">
                  <c:v>-0.227049</c:v>
                </c:pt>
                <c:pt idx="490">
                  <c:v>-0.1865</c:v>
                </c:pt>
                <c:pt idx="491">
                  <c:v>-0.11144999999999999</c:v>
                </c:pt>
                <c:pt idx="492">
                  <c:v>-3.4869999999999998E-2</c:v>
                </c:pt>
                <c:pt idx="493">
                  <c:v>-1.3785E-2</c:v>
                </c:pt>
                <c:pt idx="494">
                  <c:v>-0.119047</c:v>
                </c:pt>
                <c:pt idx="495">
                  <c:v>-4.1887000000000001E-2</c:v>
                </c:pt>
                <c:pt idx="496">
                  <c:v>-7.4234999999999995E-2</c:v>
                </c:pt>
                <c:pt idx="497">
                  <c:v>-0.10595599999999999</c:v>
                </c:pt>
                <c:pt idx="498">
                  <c:v>-0.17657300000000001</c:v>
                </c:pt>
                <c:pt idx="499">
                  <c:v>-0.21723899999999999</c:v>
                </c:pt>
                <c:pt idx="500">
                  <c:v>-0.254994</c:v>
                </c:pt>
                <c:pt idx="501">
                  <c:v>-0.30824499999999999</c:v>
                </c:pt>
                <c:pt idx="502">
                  <c:v>-0.24469299999999999</c:v>
                </c:pt>
                <c:pt idx="503">
                  <c:v>-0.24983900000000001</c:v>
                </c:pt>
                <c:pt idx="504">
                  <c:v>-0.264685</c:v>
                </c:pt>
                <c:pt idx="505">
                  <c:v>-0.29538599999999998</c:v>
                </c:pt>
                <c:pt idx="506">
                  <c:v>-0.28470000000000001</c:v>
                </c:pt>
                <c:pt idx="507">
                  <c:v>-0.32719999999999999</c:v>
                </c:pt>
                <c:pt idx="508">
                  <c:v>-0.37626799999999999</c:v>
                </c:pt>
                <c:pt idx="509">
                  <c:v>-0.22544800000000001</c:v>
                </c:pt>
                <c:pt idx="510">
                  <c:v>-0.10875799999999999</c:v>
                </c:pt>
                <c:pt idx="511">
                  <c:v>3.2733999999999999E-2</c:v>
                </c:pt>
                <c:pt idx="512">
                  <c:v>0.173098</c:v>
                </c:pt>
                <c:pt idx="513">
                  <c:v>0.39119999999999999</c:v>
                </c:pt>
                <c:pt idx="514">
                  <c:v>0.49937399999999998</c:v>
                </c:pt>
                <c:pt idx="515">
                  <c:v>0.38809199999999999</c:v>
                </c:pt>
                <c:pt idx="516">
                  <c:v>0.65226700000000004</c:v>
                </c:pt>
                <c:pt idx="517">
                  <c:v>0.69836399999999998</c:v>
                </c:pt>
                <c:pt idx="518">
                  <c:v>0.77161599999999997</c:v>
                </c:pt>
                <c:pt idx="519">
                  <c:v>0.71623899999999996</c:v>
                </c:pt>
                <c:pt idx="520">
                  <c:v>0.83472400000000002</c:v>
                </c:pt>
                <c:pt idx="521">
                  <c:v>0.72756100000000001</c:v>
                </c:pt>
                <c:pt idx="522">
                  <c:v>0.51960700000000004</c:v>
                </c:pt>
                <c:pt idx="523">
                  <c:v>0.61830200000000002</c:v>
                </c:pt>
                <c:pt idx="524">
                  <c:v>0.53899200000000003</c:v>
                </c:pt>
                <c:pt idx="525">
                  <c:v>0.52290800000000004</c:v>
                </c:pt>
                <c:pt idx="526">
                  <c:v>0.42766100000000001</c:v>
                </c:pt>
                <c:pt idx="527">
                  <c:v>0.50114899999999996</c:v>
                </c:pt>
                <c:pt idx="528">
                  <c:v>0.38236500000000001</c:v>
                </c:pt>
                <c:pt idx="529">
                  <c:v>0.21949399999999999</c:v>
                </c:pt>
                <c:pt idx="530">
                  <c:v>0.25818600000000003</c:v>
                </c:pt>
                <c:pt idx="531">
                  <c:v>0.20732500000000001</c:v>
                </c:pt>
                <c:pt idx="532">
                  <c:v>0.17877599999999999</c:v>
                </c:pt>
                <c:pt idx="533">
                  <c:v>0.128024</c:v>
                </c:pt>
                <c:pt idx="534">
                  <c:v>0.140012</c:v>
                </c:pt>
                <c:pt idx="535">
                  <c:v>6.0706999999999997E-2</c:v>
                </c:pt>
                <c:pt idx="536">
                  <c:v>-7.1779999999999997E-2</c:v>
                </c:pt>
                <c:pt idx="537">
                  <c:v>1.5678999999999998E-2</c:v>
                </c:pt>
                <c:pt idx="538">
                  <c:v>-2.7740000000000001E-2</c:v>
                </c:pt>
                <c:pt idx="539">
                  <c:v>-4.0398000000000003E-2</c:v>
                </c:pt>
                <c:pt idx="540">
                  <c:v>-7.1138999999999994E-2</c:v>
                </c:pt>
                <c:pt idx="541">
                  <c:v>-5.7604000000000002E-2</c:v>
                </c:pt>
                <c:pt idx="542">
                  <c:v>-0.1</c:v>
                </c:pt>
                <c:pt idx="543">
                  <c:v>-0.20141800000000001</c:v>
                </c:pt>
                <c:pt idx="544">
                  <c:v>-0.100081</c:v>
                </c:pt>
                <c:pt idx="545">
                  <c:v>-0.14158499999999999</c:v>
                </c:pt>
                <c:pt idx="546">
                  <c:v>-0.151145</c:v>
                </c:pt>
                <c:pt idx="547">
                  <c:v>-0.16169800000000001</c:v>
                </c:pt>
                <c:pt idx="548">
                  <c:v>-0.141237</c:v>
                </c:pt>
                <c:pt idx="549">
                  <c:v>-0.18776699999999999</c:v>
                </c:pt>
                <c:pt idx="550">
                  <c:v>-0.2804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C8-4E7B-83D3-5242563E84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JIP_v_den_pozitivity_7dni_100_000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53</c:f>
              <c:numCache>
                <c:formatCode>m/d/yyyy</c:formatCode>
                <c:ptCount val="55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</c:numCache>
            </c:numRef>
          </c:cat>
          <c:val>
            <c:numRef>
              <c:f>Sheet1!$B$2:$B$553</c:f>
              <c:numCache>
                <c:formatCode>0.0</c:formatCode>
                <c:ptCount val="552"/>
                <c:pt idx="0">
                  <c:v>7.4753899999999998E-2</c:v>
                </c:pt>
                <c:pt idx="1">
                  <c:v>8.4098099999999995E-2</c:v>
                </c:pt>
                <c:pt idx="2">
                  <c:v>0.10278660000000001</c:v>
                </c:pt>
                <c:pt idx="3">
                  <c:v>0.1308193</c:v>
                </c:pt>
                <c:pt idx="4">
                  <c:v>0.1401636</c:v>
                </c:pt>
                <c:pt idx="5">
                  <c:v>0.1588521</c:v>
                </c:pt>
                <c:pt idx="6">
                  <c:v>0.16819629999999999</c:v>
                </c:pt>
                <c:pt idx="7">
                  <c:v>0.1308193</c:v>
                </c:pt>
                <c:pt idx="8">
                  <c:v>0.1401636</c:v>
                </c:pt>
                <c:pt idx="9">
                  <c:v>0.16819629999999999</c:v>
                </c:pt>
                <c:pt idx="10">
                  <c:v>0.17754059999999999</c:v>
                </c:pt>
                <c:pt idx="11">
                  <c:v>0.1588521</c:v>
                </c:pt>
                <c:pt idx="12">
                  <c:v>0.16819629999999999</c:v>
                </c:pt>
                <c:pt idx="13">
                  <c:v>0.1588521</c:v>
                </c:pt>
                <c:pt idx="14">
                  <c:v>0.25229449999999998</c:v>
                </c:pt>
                <c:pt idx="15">
                  <c:v>0.24295030000000001</c:v>
                </c:pt>
                <c:pt idx="16">
                  <c:v>0.27098299999999997</c:v>
                </c:pt>
                <c:pt idx="17">
                  <c:v>0.27098299999999997</c:v>
                </c:pt>
                <c:pt idx="18">
                  <c:v>0.28967150000000003</c:v>
                </c:pt>
                <c:pt idx="19">
                  <c:v>0.34573690000000001</c:v>
                </c:pt>
                <c:pt idx="20">
                  <c:v>0.4018024</c:v>
                </c:pt>
                <c:pt idx="21">
                  <c:v>0.37376969999999998</c:v>
                </c:pt>
                <c:pt idx="22">
                  <c:v>0.46721210000000002</c:v>
                </c:pt>
                <c:pt idx="23">
                  <c:v>0.53262180000000003</c:v>
                </c:pt>
                <c:pt idx="24">
                  <c:v>0.57934300000000005</c:v>
                </c:pt>
                <c:pt idx="25">
                  <c:v>0.59803150000000005</c:v>
                </c:pt>
                <c:pt idx="26">
                  <c:v>0.57934300000000005</c:v>
                </c:pt>
                <c:pt idx="27">
                  <c:v>0.60737569999999996</c:v>
                </c:pt>
                <c:pt idx="28">
                  <c:v>0.64475269999999996</c:v>
                </c:pt>
                <c:pt idx="29">
                  <c:v>0.63540839999999998</c:v>
                </c:pt>
                <c:pt idx="30">
                  <c:v>0.61672000000000005</c:v>
                </c:pt>
                <c:pt idx="31">
                  <c:v>0.7008181</c:v>
                </c:pt>
                <c:pt idx="32">
                  <c:v>0.73819509999999999</c:v>
                </c:pt>
                <c:pt idx="33">
                  <c:v>0.76622780000000001</c:v>
                </c:pt>
                <c:pt idx="34">
                  <c:v>1.0091781</c:v>
                </c:pt>
                <c:pt idx="35">
                  <c:v>1.1119648</c:v>
                </c:pt>
                <c:pt idx="36">
                  <c:v>1.2708169</c:v>
                </c:pt>
                <c:pt idx="37">
                  <c:v>1.3549150999999999</c:v>
                </c:pt>
                <c:pt idx="38">
                  <c:v>1.4950787999999999</c:v>
                </c:pt>
                <c:pt idx="39">
                  <c:v>1.6072097000000001</c:v>
                </c:pt>
                <c:pt idx="40">
                  <c:v>1.7006521000000001</c:v>
                </c:pt>
                <c:pt idx="41">
                  <c:v>1.6165539</c:v>
                </c:pt>
                <c:pt idx="42">
                  <c:v>1.6445866</c:v>
                </c:pt>
                <c:pt idx="43">
                  <c:v>1.6819636</c:v>
                </c:pt>
                <c:pt idx="44">
                  <c:v>1.7660617999999999</c:v>
                </c:pt>
                <c:pt idx="45">
                  <c:v>1.8688484999999999</c:v>
                </c:pt>
                <c:pt idx="46">
                  <c:v>1.8034387999999999</c:v>
                </c:pt>
                <c:pt idx="47">
                  <c:v>1.9249139</c:v>
                </c:pt>
                <c:pt idx="48">
                  <c:v>2.1398315000000001</c:v>
                </c:pt>
                <c:pt idx="49">
                  <c:v>2.2332738999999999</c:v>
                </c:pt>
                <c:pt idx="50">
                  <c:v>2.3921260000000002</c:v>
                </c:pt>
                <c:pt idx="51">
                  <c:v>2.5509781999999999</c:v>
                </c:pt>
                <c:pt idx="52">
                  <c:v>2.504257</c:v>
                </c:pt>
                <c:pt idx="53">
                  <c:v>2.7752400000000002</c:v>
                </c:pt>
                <c:pt idx="54">
                  <c:v>2.8686824</c:v>
                </c:pt>
                <c:pt idx="55">
                  <c:v>3.0462229999999999</c:v>
                </c:pt>
                <c:pt idx="56">
                  <c:v>3.3078618</c:v>
                </c:pt>
                <c:pt idx="57">
                  <c:v>3.1863866999999999</c:v>
                </c:pt>
                <c:pt idx="58">
                  <c:v>3.2704848000000002</c:v>
                </c:pt>
                <c:pt idx="59">
                  <c:v>3.3639272999999998</c:v>
                </c:pt>
                <c:pt idx="60">
                  <c:v>3.3639272999999998</c:v>
                </c:pt>
                <c:pt idx="61">
                  <c:v>3.2517963999999999</c:v>
                </c:pt>
                <c:pt idx="62">
                  <c:v>3.3078618</c:v>
                </c:pt>
                <c:pt idx="63">
                  <c:v>3.1303212</c:v>
                </c:pt>
                <c:pt idx="64">
                  <c:v>3.1022884999999998</c:v>
                </c:pt>
                <c:pt idx="65">
                  <c:v>3.0742557000000001</c:v>
                </c:pt>
                <c:pt idx="66">
                  <c:v>3.1022884999999998</c:v>
                </c:pt>
                <c:pt idx="67">
                  <c:v>3.0088461</c:v>
                </c:pt>
                <c:pt idx="68">
                  <c:v>2.9154035999999999</c:v>
                </c:pt>
                <c:pt idx="69">
                  <c:v>2.5603224</c:v>
                </c:pt>
                <c:pt idx="70">
                  <c:v>2.5416338999999999</c:v>
                </c:pt>
                <c:pt idx="71">
                  <c:v>2.5790109000000001</c:v>
                </c:pt>
                <c:pt idx="72">
                  <c:v>2.3360606000000002</c:v>
                </c:pt>
                <c:pt idx="73">
                  <c:v>2.0931103000000002</c:v>
                </c:pt>
                <c:pt idx="74">
                  <c:v>2.0090121000000001</c:v>
                </c:pt>
                <c:pt idx="75">
                  <c:v>1.9436024000000001</c:v>
                </c:pt>
                <c:pt idx="76">
                  <c:v>1.9529466</c:v>
                </c:pt>
                <c:pt idx="77">
                  <c:v>1.7099963</c:v>
                </c:pt>
                <c:pt idx="78">
                  <c:v>1.6072097000000001</c:v>
                </c:pt>
                <c:pt idx="79">
                  <c:v>1.6352424000000001</c:v>
                </c:pt>
                <c:pt idx="80">
                  <c:v>1.5511442</c:v>
                </c:pt>
                <c:pt idx="81">
                  <c:v>1.5698327000000001</c:v>
                </c:pt>
                <c:pt idx="82">
                  <c:v>1.5698327000000001</c:v>
                </c:pt>
                <c:pt idx="83">
                  <c:v>1.3922920999999999</c:v>
                </c:pt>
                <c:pt idx="84">
                  <c:v>1.4390133000000001</c:v>
                </c:pt>
                <c:pt idx="85">
                  <c:v>1.4296690999999999</c:v>
                </c:pt>
                <c:pt idx="86">
                  <c:v>1.3268823999999999</c:v>
                </c:pt>
                <c:pt idx="87">
                  <c:v>1.3549150999999999</c:v>
                </c:pt>
                <c:pt idx="88">
                  <c:v>1.2240956999999999</c:v>
                </c:pt>
                <c:pt idx="89">
                  <c:v>1.1960630000000001</c:v>
                </c:pt>
                <c:pt idx="90">
                  <c:v>1.2334400000000001</c:v>
                </c:pt>
                <c:pt idx="91">
                  <c:v>1.1867188</c:v>
                </c:pt>
                <c:pt idx="92">
                  <c:v>1.1586860000000001</c:v>
                </c:pt>
                <c:pt idx="93">
                  <c:v>1.2334400000000001</c:v>
                </c:pt>
                <c:pt idx="94">
                  <c:v>1.2614726999999999</c:v>
                </c:pt>
                <c:pt idx="95">
                  <c:v>1.2801612</c:v>
                </c:pt>
                <c:pt idx="96">
                  <c:v>1.3175380999999999</c:v>
                </c:pt>
                <c:pt idx="97">
                  <c:v>1.3175380999999999</c:v>
                </c:pt>
                <c:pt idx="98">
                  <c:v>1.4016363000000001</c:v>
                </c:pt>
                <c:pt idx="99">
                  <c:v>1.3642593999999999</c:v>
                </c:pt>
                <c:pt idx="100">
                  <c:v>1.3455709</c:v>
                </c:pt>
                <c:pt idx="101">
                  <c:v>1.2521285</c:v>
                </c:pt>
                <c:pt idx="102">
                  <c:v>1.2895053999999999</c:v>
                </c:pt>
                <c:pt idx="103">
                  <c:v>1.3081939</c:v>
                </c:pt>
                <c:pt idx="104">
                  <c:v>1.4109806</c:v>
                </c:pt>
                <c:pt idx="105">
                  <c:v>1.3736036</c:v>
                </c:pt>
                <c:pt idx="106">
                  <c:v>1.3549150999999999</c:v>
                </c:pt>
                <c:pt idx="107">
                  <c:v>1.3362266</c:v>
                </c:pt>
                <c:pt idx="108">
                  <c:v>1.4016363000000001</c:v>
                </c:pt>
                <c:pt idx="109">
                  <c:v>1.3642593999999999</c:v>
                </c:pt>
                <c:pt idx="110">
                  <c:v>1.3829477999999999</c:v>
                </c:pt>
                <c:pt idx="111">
                  <c:v>1.2988497000000001</c:v>
                </c:pt>
                <c:pt idx="112">
                  <c:v>1.2895053999999999</c:v>
                </c:pt>
                <c:pt idx="113">
                  <c:v>1.4857345</c:v>
                </c:pt>
                <c:pt idx="114">
                  <c:v>1.4109806</c:v>
                </c:pt>
                <c:pt idx="115">
                  <c:v>1.4390133000000001</c:v>
                </c:pt>
                <c:pt idx="116">
                  <c:v>1.4950787999999999</c:v>
                </c:pt>
                <c:pt idx="117">
                  <c:v>1.6352424000000001</c:v>
                </c:pt>
                <c:pt idx="118">
                  <c:v>1.8968811999999999</c:v>
                </c:pt>
                <c:pt idx="119">
                  <c:v>2.1585200000000002</c:v>
                </c:pt>
                <c:pt idx="120">
                  <c:v>2.1865527</c:v>
                </c:pt>
                <c:pt idx="121">
                  <c:v>2.3360606000000002</c:v>
                </c:pt>
                <c:pt idx="122">
                  <c:v>2.2986835999999999</c:v>
                </c:pt>
                <c:pt idx="123">
                  <c:v>2.3640933</c:v>
                </c:pt>
                <c:pt idx="124">
                  <c:v>2.3360606000000002</c:v>
                </c:pt>
                <c:pt idx="125">
                  <c:v>2.2052412000000001</c:v>
                </c:pt>
                <c:pt idx="126">
                  <c:v>2.2239296999999998</c:v>
                </c:pt>
                <c:pt idx="127">
                  <c:v>2.2239296999999998</c:v>
                </c:pt>
                <c:pt idx="128">
                  <c:v>2.2052412000000001</c:v>
                </c:pt>
                <c:pt idx="129">
                  <c:v>2.3734375999999999</c:v>
                </c:pt>
                <c:pt idx="130">
                  <c:v>2.4388472999999999</c:v>
                </c:pt>
                <c:pt idx="131">
                  <c:v>2.3640933</c:v>
                </c:pt>
                <c:pt idx="132">
                  <c:v>2.2893393999999998</c:v>
                </c:pt>
                <c:pt idx="133">
                  <c:v>2.0744218000000001</c:v>
                </c:pt>
                <c:pt idx="134">
                  <c:v>1.9903236</c:v>
                </c:pt>
                <c:pt idx="135">
                  <c:v>2.0744218000000001</c:v>
                </c:pt>
                <c:pt idx="136">
                  <c:v>1.9996678999999999</c:v>
                </c:pt>
                <c:pt idx="137">
                  <c:v>1.812783</c:v>
                </c:pt>
                <c:pt idx="138">
                  <c:v>1.7380291000000001</c:v>
                </c:pt>
                <c:pt idx="139">
                  <c:v>1.775406</c:v>
                </c:pt>
                <c:pt idx="140">
                  <c:v>1.8034387999999999</c:v>
                </c:pt>
                <c:pt idx="141">
                  <c:v>1.7940944999999999</c:v>
                </c:pt>
                <c:pt idx="142">
                  <c:v>1.5698327000000001</c:v>
                </c:pt>
                <c:pt idx="143">
                  <c:v>1.5418000000000001</c:v>
                </c:pt>
                <c:pt idx="144">
                  <c:v>1.6165539</c:v>
                </c:pt>
                <c:pt idx="145">
                  <c:v>1.6072097000000001</c:v>
                </c:pt>
                <c:pt idx="146">
                  <c:v>1.6165539</c:v>
                </c:pt>
                <c:pt idx="147">
                  <c:v>1.6258982</c:v>
                </c:pt>
                <c:pt idx="148">
                  <c:v>1.4950787999999999</c:v>
                </c:pt>
                <c:pt idx="149">
                  <c:v>1.5418000000000001</c:v>
                </c:pt>
                <c:pt idx="150">
                  <c:v>1.5885212</c:v>
                </c:pt>
                <c:pt idx="151">
                  <c:v>1.5978654000000001</c:v>
                </c:pt>
                <c:pt idx="152">
                  <c:v>1.6258982</c:v>
                </c:pt>
                <c:pt idx="153">
                  <c:v>1.6632750999999999</c:v>
                </c:pt>
                <c:pt idx="154">
                  <c:v>1.5604884999999999</c:v>
                </c:pt>
                <c:pt idx="155">
                  <c:v>1.6258982</c:v>
                </c:pt>
                <c:pt idx="156">
                  <c:v>1.7660617999999999</c:v>
                </c:pt>
                <c:pt idx="157">
                  <c:v>1.7847503</c:v>
                </c:pt>
                <c:pt idx="158">
                  <c:v>1.7847503</c:v>
                </c:pt>
                <c:pt idx="159">
                  <c:v>1.7380291000000001</c:v>
                </c:pt>
                <c:pt idx="160">
                  <c:v>1.6352424000000001</c:v>
                </c:pt>
                <c:pt idx="161">
                  <c:v>1.812783</c:v>
                </c:pt>
                <c:pt idx="162">
                  <c:v>1.8875369</c:v>
                </c:pt>
                <c:pt idx="163">
                  <c:v>1.7940944999999999</c:v>
                </c:pt>
                <c:pt idx="164">
                  <c:v>1.7006521000000001</c:v>
                </c:pt>
                <c:pt idx="165">
                  <c:v>1.5698327000000001</c:v>
                </c:pt>
                <c:pt idx="166">
                  <c:v>1.6819636</c:v>
                </c:pt>
                <c:pt idx="167">
                  <c:v>1.6819636</c:v>
                </c:pt>
                <c:pt idx="168">
                  <c:v>1.7099963</c:v>
                </c:pt>
                <c:pt idx="169">
                  <c:v>1.7847503</c:v>
                </c:pt>
                <c:pt idx="170">
                  <c:v>1.8688484999999999</c:v>
                </c:pt>
                <c:pt idx="171">
                  <c:v>1.8408157000000001</c:v>
                </c:pt>
                <c:pt idx="172">
                  <c:v>2.0837659999999998</c:v>
                </c:pt>
                <c:pt idx="173">
                  <c:v>2.1398315000000001</c:v>
                </c:pt>
                <c:pt idx="174">
                  <c:v>2.2519624</c:v>
                </c:pt>
                <c:pt idx="175">
                  <c:v>2.1865527</c:v>
                </c:pt>
                <c:pt idx="176">
                  <c:v>2.1678641999999999</c:v>
                </c:pt>
                <c:pt idx="177">
                  <c:v>2.2332738999999999</c:v>
                </c:pt>
                <c:pt idx="178">
                  <c:v>2.3173721</c:v>
                </c:pt>
                <c:pt idx="179">
                  <c:v>2.2052412000000001</c:v>
                </c:pt>
                <c:pt idx="180">
                  <c:v>2.2332738999999999</c:v>
                </c:pt>
                <c:pt idx="181">
                  <c:v>2.2332738999999999</c:v>
                </c:pt>
                <c:pt idx="182">
                  <c:v>2.2799950999999998</c:v>
                </c:pt>
                <c:pt idx="183">
                  <c:v>2.2519624</c:v>
                </c:pt>
                <c:pt idx="184">
                  <c:v>2.1772084999999999</c:v>
                </c:pt>
                <c:pt idx="185">
                  <c:v>2.2893393999999998</c:v>
                </c:pt>
                <c:pt idx="186">
                  <c:v>2.3547490999999998</c:v>
                </c:pt>
                <c:pt idx="187">
                  <c:v>2.1958969000000002</c:v>
                </c:pt>
                <c:pt idx="188">
                  <c:v>2.3360606000000002</c:v>
                </c:pt>
                <c:pt idx="189">
                  <c:v>2.2332738999999999</c:v>
                </c:pt>
                <c:pt idx="190">
                  <c:v>2.2145853999999998</c:v>
                </c:pt>
                <c:pt idx="191">
                  <c:v>2.3267163000000002</c:v>
                </c:pt>
                <c:pt idx="192">
                  <c:v>2.4575357000000002</c:v>
                </c:pt>
                <c:pt idx="193">
                  <c:v>2.3547490999999998</c:v>
                </c:pt>
                <c:pt idx="194">
                  <c:v>2.3827818000000001</c:v>
                </c:pt>
                <c:pt idx="195">
                  <c:v>2.3173721</c:v>
                </c:pt>
                <c:pt idx="196">
                  <c:v>2.2613066000000002</c:v>
                </c:pt>
                <c:pt idx="197">
                  <c:v>2.2986835999999999</c:v>
                </c:pt>
                <c:pt idx="198">
                  <c:v>2.1304873</c:v>
                </c:pt>
                <c:pt idx="199">
                  <c:v>1.8875369</c:v>
                </c:pt>
                <c:pt idx="200">
                  <c:v>1.8781927</c:v>
                </c:pt>
                <c:pt idx="201">
                  <c:v>1.8034387999999999</c:v>
                </c:pt>
                <c:pt idx="202">
                  <c:v>1.775406</c:v>
                </c:pt>
                <c:pt idx="203">
                  <c:v>1.9249139</c:v>
                </c:pt>
                <c:pt idx="204">
                  <c:v>1.8034387999999999</c:v>
                </c:pt>
                <c:pt idx="205">
                  <c:v>1.8595041999999999</c:v>
                </c:pt>
                <c:pt idx="206">
                  <c:v>1.812783</c:v>
                </c:pt>
                <c:pt idx="207">
                  <c:v>1.7847503</c:v>
                </c:pt>
                <c:pt idx="208">
                  <c:v>1.8408157000000001</c:v>
                </c:pt>
                <c:pt idx="209">
                  <c:v>1.7660617999999999</c:v>
                </c:pt>
                <c:pt idx="210">
                  <c:v>1.5698327000000001</c:v>
                </c:pt>
                <c:pt idx="211">
                  <c:v>1.5511442</c:v>
                </c:pt>
                <c:pt idx="212">
                  <c:v>1.5044230000000001</c:v>
                </c:pt>
                <c:pt idx="213">
                  <c:v>1.4670460000000001</c:v>
                </c:pt>
                <c:pt idx="214">
                  <c:v>1.4763903</c:v>
                </c:pt>
                <c:pt idx="215">
                  <c:v>1.4857345</c:v>
                </c:pt>
                <c:pt idx="216">
                  <c:v>1.2521285</c:v>
                </c:pt>
                <c:pt idx="217">
                  <c:v>1.3175380999999999</c:v>
                </c:pt>
                <c:pt idx="218">
                  <c:v>1.3268823999999999</c:v>
                </c:pt>
                <c:pt idx="219">
                  <c:v>1.2708169</c:v>
                </c:pt>
                <c:pt idx="220">
                  <c:v>1.2521285</c:v>
                </c:pt>
                <c:pt idx="221">
                  <c:v>1.3081939</c:v>
                </c:pt>
                <c:pt idx="222">
                  <c:v>1.2801612</c:v>
                </c:pt>
                <c:pt idx="223">
                  <c:v>1.4577017999999999</c:v>
                </c:pt>
                <c:pt idx="224">
                  <c:v>1.3175380999999999</c:v>
                </c:pt>
                <c:pt idx="225">
                  <c:v>1.2521285</c:v>
                </c:pt>
                <c:pt idx="226">
                  <c:v>1.1773745</c:v>
                </c:pt>
                <c:pt idx="227">
                  <c:v>1.1493418</c:v>
                </c:pt>
                <c:pt idx="228">
                  <c:v>1.0932763000000001</c:v>
                </c:pt>
                <c:pt idx="229">
                  <c:v>1.0372109</c:v>
                </c:pt>
                <c:pt idx="230">
                  <c:v>0.93442420000000004</c:v>
                </c:pt>
                <c:pt idx="231">
                  <c:v>0.97180120000000003</c:v>
                </c:pt>
                <c:pt idx="232">
                  <c:v>0.93442420000000004</c:v>
                </c:pt>
                <c:pt idx="233">
                  <c:v>0.92508000000000001</c:v>
                </c:pt>
                <c:pt idx="234">
                  <c:v>0.91573570000000004</c:v>
                </c:pt>
                <c:pt idx="235">
                  <c:v>0.8596703</c:v>
                </c:pt>
                <c:pt idx="236">
                  <c:v>0.8596703</c:v>
                </c:pt>
                <c:pt idx="237">
                  <c:v>0.79426059999999998</c:v>
                </c:pt>
                <c:pt idx="238">
                  <c:v>0.7195066</c:v>
                </c:pt>
                <c:pt idx="239">
                  <c:v>0.77557209999999999</c:v>
                </c:pt>
                <c:pt idx="240">
                  <c:v>0.75688359999999999</c:v>
                </c:pt>
                <c:pt idx="241">
                  <c:v>0.68212969999999995</c:v>
                </c:pt>
                <c:pt idx="242">
                  <c:v>0.61672000000000005</c:v>
                </c:pt>
                <c:pt idx="243">
                  <c:v>0.58868719999999997</c:v>
                </c:pt>
                <c:pt idx="244">
                  <c:v>0.55131030000000003</c:v>
                </c:pt>
                <c:pt idx="245">
                  <c:v>0.59803150000000005</c:v>
                </c:pt>
                <c:pt idx="246">
                  <c:v>0.50458899999999995</c:v>
                </c:pt>
                <c:pt idx="247">
                  <c:v>0.46721210000000002</c:v>
                </c:pt>
                <c:pt idx="248">
                  <c:v>0.48590060000000002</c:v>
                </c:pt>
                <c:pt idx="249">
                  <c:v>0.51393330000000004</c:v>
                </c:pt>
                <c:pt idx="250">
                  <c:v>0.52327749999999995</c:v>
                </c:pt>
                <c:pt idx="251">
                  <c:v>0.49524479999999999</c:v>
                </c:pt>
                <c:pt idx="252">
                  <c:v>0.43917929999999999</c:v>
                </c:pt>
                <c:pt idx="253">
                  <c:v>0.45786779999999999</c:v>
                </c:pt>
                <c:pt idx="254">
                  <c:v>0.44852360000000002</c:v>
                </c:pt>
                <c:pt idx="255">
                  <c:v>0.41114659999999997</c:v>
                </c:pt>
                <c:pt idx="256">
                  <c:v>0.38311390000000001</c:v>
                </c:pt>
                <c:pt idx="257">
                  <c:v>0.32704840000000002</c:v>
                </c:pt>
                <c:pt idx="258">
                  <c:v>0.2990157</c:v>
                </c:pt>
                <c:pt idx="259">
                  <c:v>0.28967150000000003</c:v>
                </c:pt>
                <c:pt idx="260">
                  <c:v>0.2616387</c:v>
                </c:pt>
                <c:pt idx="261">
                  <c:v>0.22426180000000001</c:v>
                </c:pt>
                <c:pt idx="262">
                  <c:v>0.22426180000000001</c:v>
                </c:pt>
                <c:pt idx="263">
                  <c:v>0.24295030000000001</c:v>
                </c:pt>
                <c:pt idx="264">
                  <c:v>0.24295030000000001</c:v>
                </c:pt>
                <c:pt idx="265">
                  <c:v>0.22426180000000001</c:v>
                </c:pt>
                <c:pt idx="266">
                  <c:v>0.18688479999999999</c:v>
                </c:pt>
                <c:pt idx="267">
                  <c:v>0.17754059999999999</c:v>
                </c:pt>
                <c:pt idx="268">
                  <c:v>0.17754059999999999</c:v>
                </c:pt>
                <c:pt idx="269">
                  <c:v>0.1495078</c:v>
                </c:pt>
                <c:pt idx="270">
                  <c:v>0.11213090000000001</c:v>
                </c:pt>
                <c:pt idx="271">
                  <c:v>0.1214751</c:v>
                </c:pt>
                <c:pt idx="272">
                  <c:v>0.1401636</c:v>
                </c:pt>
                <c:pt idx="273">
                  <c:v>0.1308193</c:v>
                </c:pt>
                <c:pt idx="274">
                  <c:v>0.10278660000000001</c:v>
                </c:pt>
                <c:pt idx="275">
                  <c:v>0.10278660000000001</c:v>
                </c:pt>
                <c:pt idx="276">
                  <c:v>0.10278660000000001</c:v>
                </c:pt>
                <c:pt idx="277">
                  <c:v>9.3442399999999995E-2</c:v>
                </c:pt>
                <c:pt idx="278">
                  <c:v>8.4098099999999995E-2</c:v>
                </c:pt>
                <c:pt idx="279">
                  <c:v>4.6721199999999997E-2</c:v>
                </c:pt>
                <c:pt idx="280">
                  <c:v>4.6721199999999997E-2</c:v>
                </c:pt>
                <c:pt idx="281">
                  <c:v>4.6721199999999997E-2</c:v>
                </c:pt>
                <c:pt idx="282">
                  <c:v>3.7376899999999998E-2</c:v>
                </c:pt>
                <c:pt idx="283">
                  <c:v>3.7376899999999998E-2</c:v>
                </c:pt>
                <c:pt idx="284">
                  <c:v>3.7376899999999998E-2</c:v>
                </c:pt>
                <c:pt idx="285">
                  <c:v>2.8032700000000001E-2</c:v>
                </c:pt>
                <c:pt idx="286">
                  <c:v>3.7376899999999998E-2</c:v>
                </c:pt>
                <c:pt idx="287">
                  <c:v>4.6721199999999997E-2</c:v>
                </c:pt>
                <c:pt idx="288">
                  <c:v>4.6721199999999997E-2</c:v>
                </c:pt>
                <c:pt idx="289">
                  <c:v>3.7376899999999998E-2</c:v>
                </c:pt>
                <c:pt idx="290">
                  <c:v>4.6721199999999997E-2</c:v>
                </c:pt>
                <c:pt idx="291">
                  <c:v>5.6065400000000001E-2</c:v>
                </c:pt>
                <c:pt idx="292">
                  <c:v>6.5409599999999998E-2</c:v>
                </c:pt>
                <c:pt idx="293">
                  <c:v>5.6065400000000001E-2</c:v>
                </c:pt>
                <c:pt idx="294">
                  <c:v>4.6721199999999997E-2</c:v>
                </c:pt>
                <c:pt idx="295">
                  <c:v>3.7376899999999998E-2</c:v>
                </c:pt>
                <c:pt idx="296">
                  <c:v>4.6721199999999997E-2</c:v>
                </c:pt>
                <c:pt idx="297">
                  <c:v>2.8032700000000001E-2</c:v>
                </c:pt>
                <c:pt idx="298">
                  <c:v>1.8688400000000001E-2</c:v>
                </c:pt>
                <c:pt idx="299">
                  <c:v>9.3442000000000004E-3</c:v>
                </c:pt>
                <c:pt idx="300">
                  <c:v>1.8688400000000001E-2</c:v>
                </c:pt>
                <c:pt idx="301">
                  <c:v>1.8688400000000001E-2</c:v>
                </c:pt>
                <c:pt idx="302">
                  <c:v>2.8032700000000001E-2</c:v>
                </c:pt>
                <c:pt idx="303">
                  <c:v>2.8032700000000001E-2</c:v>
                </c:pt>
                <c:pt idx="304">
                  <c:v>3.7376899999999998E-2</c:v>
                </c:pt>
                <c:pt idx="305">
                  <c:v>3.7376899999999998E-2</c:v>
                </c:pt>
                <c:pt idx="306">
                  <c:v>3.7376899999999998E-2</c:v>
                </c:pt>
                <c:pt idx="307">
                  <c:v>2.8032700000000001E-2</c:v>
                </c:pt>
                <c:pt idx="308">
                  <c:v>2.8032700000000001E-2</c:v>
                </c:pt>
                <c:pt idx="309">
                  <c:v>2.8032700000000001E-2</c:v>
                </c:pt>
                <c:pt idx="310">
                  <c:v>1.8688400000000001E-2</c:v>
                </c:pt>
                <c:pt idx="311">
                  <c:v>9.3442000000000004E-3</c:v>
                </c:pt>
                <c:pt idx="312">
                  <c:v>9.3442000000000004E-3</c:v>
                </c:pt>
                <c:pt idx="313">
                  <c:v>9.3442000000000004E-3</c:v>
                </c:pt>
                <c:pt idx="314">
                  <c:v>1.8688400000000001E-2</c:v>
                </c:pt>
                <c:pt idx="315">
                  <c:v>1.8688400000000001E-2</c:v>
                </c:pt>
                <c:pt idx="316">
                  <c:v>1.8688400000000001E-2</c:v>
                </c:pt>
                <c:pt idx="317">
                  <c:v>2.8032700000000001E-2</c:v>
                </c:pt>
                <c:pt idx="318">
                  <c:v>2.8032700000000001E-2</c:v>
                </c:pt>
                <c:pt idx="319">
                  <c:v>2.8032700000000001E-2</c:v>
                </c:pt>
                <c:pt idx="320">
                  <c:v>3.7376899999999998E-2</c:v>
                </c:pt>
                <c:pt idx="321">
                  <c:v>3.7376899999999998E-2</c:v>
                </c:pt>
                <c:pt idx="322">
                  <c:v>3.7376899999999998E-2</c:v>
                </c:pt>
                <c:pt idx="323">
                  <c:v>2.8032700000000001E-2</c:v>
                </c:pt>
                <c:pt idx="324">
                  <c:v>2.8032700000000001E-2</c:v>
                </c:pt>
                <c:pt idx="325">
                  <c:v>3.7376899999999998E-2</c:v>
                </c:pt>
                <c:pt idx="326">
                  <c:v>3.7376899999999998E-2</c:v>
                </c:pt>
                <c:pt idx="327">
                  <c:v>2.8032700000000001E-2</c:v>
                </c:pt>
                <c:pt idx="328">
                  <c:v>2.8032700000000001E-2</c:v>
                </c:pt>
                <c:pt idx="329">
                  <c:v>2.8032700000000001E-2</c:v>
                </c:pt>
                <c:pt idx="330">
                  <c:v>2.8032700000000001E-2</c:v>
                </c:pt>
                <c:pt idx="331">
                  <c:v>2.8032700000000001E-2</c:v>
                </c:pt>
                <c:pt idx="332">
                  <c:v>3.7376899999999998E-2</c:v>
                </c:pt>
                <c:pt idx="333">
                  <c:v>4.6721199999999997E-2</c:v>
                </c:pt>
                <c:pt idx="334">
                  <c:v>4.6721199999999997E-2</c:v>
                </c:pt>
                <c:pt idx="335">
                  <c:v>3.7376899999999998E-2</c:v>
                </c:pt>
                <c:pt idx="336">
                  <c:v>5.6065400000000001E-2</c:v>
                </c:pt>
                <c:pt idx="337">
                  <c:v>6.5409599999999998E-2</c:v>
                </c:pt>
                <c:pt idx="338">
                  <c:v>5.6065400000000001E-2</c:v>
                </c:pt>
                <c:pt idx="339">
                  <c:v>4.6721199999999997E-2</c:v>
                </c:pt>
                <c:pt idx="340">
                  <c:v>3.7376899999999998E-2</c:v>
                </c:pt>
                <c:pt idx="341">
                  <c:v>3.7376899999999998E-2</c:v>
                </c:pt>
                <c:pt idx="342">
                  <c:v>4.6721199999999997E-2</c:v>
                </c:pt>
                <c:pt idx="343">
                  <c:v>2.8032700000000001E-2</c:v>
                </c:pt>
                <c:pt idx="344">
                  <c:v>3.7376899999999998E-2</c:v>
                </c:pt>
                <c:pt idx="345">
                  <c:v>3.7376899999999998E-2</c:v>
                </c:pt>
                <c:pt idx="346">
                  <c:v>3.7376899999999998E-2</c:v>
                </c:pt>
                <c:pt idx="347">
                  <c:v>3.7376899999999998E-2</c:v>
                </c:pt>
                <c:pt idx="348">
                  <c:v>4.6721199999999997E-2</c:v>
                </c:pt>
                <c:pt idx="349">
                  <c:v>4.6721199999999997E-2</c:v>
                </c:pt>
                <c:pt idx="350">
                  <c:v>4.6721199999999997E-2</c:v>
                </c:pt>
                <c:pt idx="351">
                  <c:v>2.8032700000000001E-2</c:v>
                </c:pt>
                <c:pt idx="352">
                  <c:v>2.8032700000000001E-2</c:v>
                </c:pt>
                <c:pt idx="353">
                  <c:v>4.6721199999999997E-2</c:v>
                </c:pt>
                <c:pt idx="354">
                  <c:v>5.6065400000000001E-2</c:v>
                </c:pt>
                <c:pt idx="355">
                  <c:v>4.6721199999999997E-2</c:v>
                </c:pt>
                <c:pt idx="356">
                  <c:v>4.6721199999999997E-2</c:v>
                </c:pt>
                <c:pt idx="357">
                  <c:v>5.6065400000000001E-2</c:v>
                </c:pt>
                <c:pt idx="358">
                  <c:v>6.5409599999999998E-2</c:v>
                </c:pt>
                <c:pt idx="359">
                  <c:v>6.5409599999999998E-2</c:v>
                </c:pt>
                <c:pt idx="360">
                  <c:v>3.7376899999999998E-2</c:v>
                </c:pt>
                <c:pt idx="361">
                  <c:v>2.8032700000000001E-2</c:v>
                </c:pt>
                <c:pt idx="362">
                  <c:v>2.8032700000000001E-2</c:v>
                </c:pt>
                <c:pt idx="363">
                  <c:v>1.8688400000000001E-2</c:v>
                </c:pt>
                <c:pt idx="364">
                  <c:v>9.3442000000000004E-3</c:v>
                </c:pt>
                <c:pt idx="365">
                  <c:v>9.3442000000000004E-3</c:v>
                </c:pt>
                <c:pt idx="366">
                  <c:v>9.3442000000000004E-3</c:v>
                </c:pt>
                <c:pt idx="367">
                  <c:v>4.6721199999999997E-2</c:v>
                </c:pt>
                <c:pt idx="368">
                  <c:v>4.6721199999999997E-2</c:v>
                </c:pt>
                <c:pt idx="369">
                  <c:v>5.6065400000000001E-2</c:v>
                </c:pt>
                <c:pt idx="370">
                  <c:v>6.5409599999999998E-2</c:v>
                </c:pt>
                <c:pt idx="371">
                  <c:v>8.4098099999999995E-2</c:v>
                </c:pt>
                <c:pt idx="372">
                  <c:v>7.4753899999999998E-2</c:v>
                </c:pt>
                <c:pt idx="373">
                  <c:v>7.4753899999999998E-2</c:v>
                </c:pt>
                <c:pt idx="374">
                  <c:v>5.6065400000000001E-2</c:v>
                </c:pt>
                <c:pt idx="375">
                  <c:v>5.6065400000000001E-2</c:v>
                </c:pt>
                <c:pt idx="376">
                  <c:v>4.6721199999999997E-2</c:v>
                </c:pt>
                <c:pt idx="377">
                  <c:v>7.4753899999999998E-2</c:v>
                </c:pt>
                <c:pt idx="378">
                  <c:v>8.4098099999999995E-2</c:v>
                </c:pt>
                <c:pt idx="379">
                  <c:v>8.4098099999999995E-2</c:v>
                </c:pt>
                <c:pt idx="380">
                  <c:v>0.10278660000000001</c:v>
                </c:pt>
                <c:pt idx="381">
                  <c:v>9.3442399999999995E-2</c:v>
                </c:pt>
                <c:pt idx="382">
                  <c:v>9.3442399999999995E-2</c:v>
                </c:pt>
                <c:pt idx="383">
                  <c:v>0.10278660000000001</c:v>
                </c:pt>
                <c:pt idx="384">
                  <c:v>7.4753899999999998E-2</c:v>
                </c:pt>
                <c:pt idx="385">
                  <c:v>4.6721199999999997E-2</c:v>
                </c:pt>
                <c:pt idx="386">
                  <c:v>5.6065400000000001E-2</c:v>
                </c:pt>
                <c:pt idx="387">
                  <c:v>5.6065400000000001E-2</c:v>
                </c:pt>
                <c:pt idx="388">
                  <c:v>6.5409599999999998E-2</c:v>
                </c:pt>
                <c:pt idx="389">
                  <c:v>8.4098099999999995E-2</c:v>
                </c:pt>
                <c:pt idx="390">
                  <c:v>9.3442399999999995E-2</c:v>
                </c:pt>
                <c:pt idx="391">
                  <c:v>0.11213090000000001</c:v>
                </c:pt>
                <c:pt idx="392">
                  <c:v>0.1214751</c:v>
                </c:pt>
                <c:pt idx="393">
                  <c:v>0.1495078</c:v>
                </c:pt>
                <c:pt idx="394">
                  <c:v>0.1401636</c:v>
                </c:pt>
                <c:pt idx="395">
                  <c:v>0.1588521</c:v>
                </c:pt>
                <c:pt idx="396">
                  <c:v>0.1401636</c:v>
                </c:pt>
                <c:pt idx="397">
                  <c:v>0.1401636</c:v>
                </c:pt>
                <c:pt idx="398">
                  <c:v>0.1588521</c:v>
                </c:pt>
                <c:pt idx="399">
                  <c:v>0.25229449999999998</c:v>
                </c:pt>
                <c:pt idx="400">
                  <c:v>0.30836000000000002</c:v>
                </c:pt>
                <c:pt idx="401">
                  <c:v>0.33639269999999999</c:v>
                </c:pt>
                <c:pt idx="402">
                  <c:v>0.31770419999999999</c:v>
                </c:pt>
                <c:pt idx="403">
                  <c:v>0.32704840000000002</c:v>
                </c:pt>
                <c:pt idx="404">
                  <c:v>0.32704840000000002</c:v>
                </c:pt>
                <c:pt idx="405">
                  <c:v>0.37376969999999998</c:v>
                </c:pt>
                <c:pt idx="406">
                  <c:v>0.28967150000000003</c:v>
                </c:pt>
                <c:pt idx="407">
                  <c:v>0.25229449999999998</c:v>
                </c:pt>
                <c:pt idx="408">
                  <c:v>0.2803272</c:v>
                </c:pt>
                <c:pt idx="409">
                  <c:v>0.2990157</c:v>
                </c:pt>
                <c:pt idx="410">
                  <c:v>0.30836000000000002</c:v>
                </c:pt>
                <c:pt idx="411">
                  <c:v>0.32704840000000002</c:v>
                </c:pt>
                <c:pt idx="412">
                  <c:v>0.2990157</c:v>
                </c:pt>
                <c:pt idx="413">
                  <c:v>0.30836000000000002</c:v>
                </c:pt>
                <c:pt idx="414">
                  <c:v>0.31770419999999999</c:v>
                </c:pt>
                <c:pt idx="415">
                  <c:v>0.2803272</c:v>
                </c:pt>
                <c:pt idx="416">
                  <c:v>0.30836000000000002</c:v>
                </c:pt>
                <c:pt idx="417">
                  <c:v>0.33639269999999999</c:v>
                </c:pt>
                <c:pt idx="418">
                  <c:v>0.39245809999999998</c:v>
                </c:pt>
                <c:pt idx="419">
                  <c:v>0.53262180000000003</c:v>
                </c:pt>
                <c:pt idx="420">
                  <c:v>0.55131030000000003</c:v>
                </c:pt>
                <c:pt idx="421">
                  <c:v>0.56999869999999997</c:v>
                </c:pt>
                <c:pt idx="422">
                  <c:v>0.63540839999999998</c:v>
                </c:pt>
                <c:pt idx="423">
                  <c:v>0.65409689999999998</c:v>
                </c:pt>
                <c:pt idx="424">
                  <c:v>0.66344119999999995</c:v>
                </c:pt>
                <c:pt idx="425">
                  <c:v>0.63540839999999998</c:v>
                </c:pt>
                <c:pt idx="426">
                  <c:v>0.67278539999999998</c:v>
                </c:pt>
                <c:pt idx="427">
                  <c:v>0.83163750000000003</c:v>
                </c:pt>
                <c:pt idx="428">
                  <c:v>0.89704720000000004</c:v>
                </c:pt>
                <c:pt idx="429">
                  <c:v>0.92508000000000001</c:v>
                </c:pt>
                <c:pt idx="430">
                  <c:v>1.0465551</c:v>
                </c:pt>
                <c:pt idx="431">
                  <c:v>1.1680303000000001</c:v>
                </c:pt>
                <c:pt idx="432">
                  <c:v>1.2614726999999999</c:v>
                </c:pt>
                <c:pt idx="433">
                  <c:v>1.2895053999999999</c:v>
                </c:pt>
                <c:pt idx="434">
                  <c:v>1.3175380999999999</c:v>
                </c:pt>
                <c:pt idx="435">
                  <c:v>1.4296690999999999</c:v>
                </c:pt>
                <c:pt idx="436">
                  <c:v>1.5231115</c:v>
                </c:pt>
                <c:pt idx="437">
                  <c:v>1.4857345</c:v>
                </c:pt>
                <c:pt idx="438">
                  <c:v>1.4670460000000001</c:v>
                </c:pt>
                <c:pt idx="439">
                  <c:v>1.4857345</c:v>
                </c:pt>
                <c:pt idx="440">
                  <c:v>1.5137672</c:v>
                </c:pt>
                <c:pt idx="441">
                  <c:v>1.4950787999999999</c:v>
                </c:pt>
                <c:pt idx="442">
                  <c:v>1.4296690999999999</c:v>
                </c:pt>
                <c:pt idx="443">
                  <c:v>1.5511442</c:v>
                </c:pt>
                <c:pt idx="444">
                  <c:v>1.6632750999999999</c:v>
                </c:pt>
                <c:pt idx="445">
                  <c:v>1.6913079</c:v>
                </c:pt>
                <c:pt idx="446">
                  <c:v>1.8034387999999999</c:v>
                </c:pt>
                <c:pt idx="447">
                  <c:v>1.8875369</c:v>
                </c:pt>
                <c:pt idx="448">
                  <c:v>2.1117987999999999</c:v>
                </c:pt>
                <c:pt idx="449">
                  <c:v>2.0837659999999998</c:v>
                </c:pt>
                <c:pt idx="450">
                  <c:v>2.1678641999999999</c:v>
                </c:pt>
                <c:pt idx="451">
                  <c:v>2.1865527</c:v>
                </c:pt>
                <c:pt idx="452">
                  <c:v>2.2426181999999999</c:v>
                </c:pt>
                <c:pt idx="453">
                  <c:v>2.1491756999999998</c:v>
                </c:pt>
                <c:pt idx="454">
                  <c:v>2.0931103000000002</c:v>
                </c:pt>
                <c:pt idx="455">
                  <c:v>1.8781927</c:v>
                </c:pt>
                <c:pt idx="456">
                  <c:v>2.0277006000000002</c:v>
                </c:pt>
                <c:pt idx="457">
                  <c:v>1.85016</c:v>
                </c:pt>
                <c:pt idx="458">
                  <c:v>1.7099963</c:v>
                </c:pt>
                <c:pt idx="459">
                  <c:v>1.6539309</c:v>
                </c:pt>
                <c:pt idx="460">
                  <c:v>1.6072097000000001</c:v>
                </c:pt>
                <c:pt idx="461">
                  <c:v>1.6632750999999999</c:v>
                </c:pt>
                <c:pt idx="462">
                  <c:v>1.6539309</c:v>
                </c:pt>
                <c:pt idx="463">
                  <c:v>1.4763903</c:v>
                </c:pt>
                <c:pt idx="464">
                  <c:v>1.4296690999999999</c:v>
                </c:pt>
                <c:pt idx="465">
                  <c:v>1.4577017999999999</c:v>
                </c:pt>
                <c:pt idx="466">
                  <c:v>1.4016363000000001</c:v>
                </c:pt>
                <c:pt idx="467">
                  <c:v>1.4016363000000001</c:v>
                </c:pt>
                <c:pt idx="468">
                  <c:v>1.2427842</c:v>
                </c:pt>
                <c:pt idx="469">
                  <c:v>1.2801612</c:v>
                </c:pt>
                <c:pt idx="470">
                  <c:v>1.3642593999999999</c:v>
                </c:pt>
                <c:pt idx="471">
                  <c:v>1.3455709</c:v>
                </c:pt>
                <c:pt idx="472">
                  <c:v>1.2895053999999999</c:v>
                </c:pt>
                <c:pt idx="473">
                  <c:v>1.2147515</c:v>
                </c:pt>
                <c:pt idx="474">
                  <c:v>1.1680303000000001</c:v>
                </c:pt>
                <c:pt idx="475">
                  <c:v>1.2147515</c:v>
                </c:pt>
                <c:pt idx="476">
                  <c:v>1.1680303000000001</c:v>
                </c:pt>
                <c:pt idx="477">
                  <c:v>1.0652436000000001</c:v>
                </c:pt>
                <c:pt idx="478">
                  <c:v>1.0652436000000001</c:v>
                </c:pt>
                <c:pt idx="479">
                  <c:v>1.0278666000000001</c:v>
                </c:pt>
                <c:pt idx="480">
                  <c:v>1.0745878</c:v>
                </c:pt>
                <c:pt idx="481">
                  <c:v>1.0745878</c:v>
                </c:pt>
                <c:pt idx="482">
                  <c:v>1.0278666000000001</c:v>
                </c:pt>
                <c:pt idx="483">
                  <c:v>1.0932763000000001</c:v>
                </c:pt>
                <c:pt idx="484">
                  <c:v>1.1399975</c:v>
                </c:pt>
                <c:pt idx="485">
                  <c:v>1.0839321</c:v>
                </c:pt>
                <c:pt idx="486">
                  <c:v>1.1119648</c:v>
                </c:pt>
                <c:pt idx="487">
                  <c:v>1.1399975</c:v>
                </c:pt>
                <c:pt idx="488">
                  <c:v>1.1399975</c:v>
                </c:pt>
                <c:pt idx="489">
                  <c:v>1.0372109</c:v>
                </c:pt>
                <c:pt idx="490">
                  <c:v>0.87835870000000005</c:v>
                </c:pt>
                <c:pt idx="491">
                  <c:v>0.78491630000000001</c:v>
                </c:pt>
                <c:pt idx="492">
                  <c:v>0.72885089999999997</c:v>
                </c:pt>
                <c:pt idx="493">
                  <c:v>0.72885089999999997</c:v>
                </c:pt>
                <c:pt idx="494">
                  <c:v>0.68212969999999995</c:v>
                </c:pt>
                <c:pt idx="495">
                  <c:v>0.66344119999999995</c:v>
                </c:pt>
                <c:pt idx="496">
                  <c:v>0.65409689999999998</c:v>
                </c:pt>
                <c:pt idx="497">
                  <c:v>0.65409689999999998</c:v>
                </c:pt>
                <c:pt idx="498">
                  <c:v>0.66344119999999995</c:v>
                </c:pt>
                <c:pt idx="499">
                  <c:v>0.64475269999999996</c:v>
                </c:pt>
                <c:pt idx="500">
                  <c:v>0.64475269999999996</c:v>
                </c:pt>
                <c:pt idx="501">
                  <c:v>0.57934300000000005</c:v>
                </c:pt>
                <c:pt idx="502">
                  <c:v>0.53262180000000003</c:v>
                </c:pt>
                <c:pt idx="503">
                  <c:v>0.56065449999999994</c:v>
                </c:pt>
                <c:pt idx="504">
                  <c:v>0.50458899999999995</c:v>
                </c:pt>
                <c:pt idx="505">
                  <c:v>0.52327749999999995</c:v>
                </c:pt>
                <c:pt idx="506">
                  <c:v>0.56999869999999997</c:v>
                </c:pt>
                <c:pt idx="507">
                  <c:v>0.56999869999999997</c:v>
                </c:pt>
                <c:pt idx="508">
                  <c:v>0.66344119999999995</c:v>
                </c:pt>
                <c:pt idx="509">
                  <c:v>0.73819509999999999</c:v>
                </c:pt>
                <c:pt idx="510">
                  <c:v>0.78491630000000001</c:v>
                </c:pt>
                <c:pt idx="511">
                  <c:v>0.8409818</c:v>
                </c:pt>
                <c:pt idx="512">
                  <c:v>0.88770300000000002</c:v>
                </c:pt>
                <c:pt idx="513">
                  <c:v>0.94376839999999995</c:v>
                </c:pt>
                <c:pt idx="514">
                  <c:v>1.0278666000000001</c:v>
                </c:pt>
                <c:pt idx="515">
                  <c:v>1.0558993999999999</c:v>
                </c:pt>
                <c:pt idx="516">
                  <c:v>1.0932763000000001</c:v>
                </c:pt>
                <c:pt idx="517">
                  <c:v>1.1586860000000001</c:v>
                </c:pt>
                <c:pt idx="518">
                  <c:v>1.2708169</c:v>
                </c:pt>
                <c:pt idx="519">
                  <c:v>1.3549150999999999</c:v>
                </c:pt>
                <c:pt idx="520">
                  <c:v>1.4109806</c:v>
                </c:pt>
                <c:pt idx="521">
                  <c:v>1.3362266</c:v>
                </c:pt>
                <c:pt idx="522">
                  <c:v>1.4203247999999999</c:v>
                </c:pt>
                <c:pt idx="523">
                  <c:v>1.3829477999999999</c:v>
                </c:pt>
                <c:pt idx="524">
                  <c:v>1.3549150999999999</c:v>
                </c:pt>
                <c:pt idx="525">
                  <c:v>1.2147515</c:v>
                </c:pt>
                <c:pt idx="526">
                  <c:v>1.2801612</c:v>
                </c:pt>
                <c:pt idx="527">
                  <c:v>1.2988497000000001</c:v>
                </c:pt>
                <c:pt idx="528">
                  <c:v>1.3829477999999999</c:v>
                </c:pt>
                <c:pt idx="529">
                  <c:v>1.2614726999999999</c:v>
                </c:pt>
                <c:pt idx="530">
                  <c:v>1.2708169</c:v>
                </c:pt>
                <c:pt idx="531">
                  <c:v>1.2801612</c:v>
                </c:pt>
                <c:pt idx="532">
                  <c:v>1.3549150999999999</c:v>
                </c:pt>
                <c:pt idx="533">
                  <c:v>1.3455709</c:v>
                </c:pt>
                <c:pt idx="534">
                  <c:v>1.2895053999999999</c:v>
                </c:pt>
                <c:pt idx="535">
                  <c:v>1.1773745</c:v>
                </c:pt>
                <c:pt idx="536">
                  <c:v>1.1586860000000001</c:v>
                </c:pt>
                <c:pt idx="537">
                  <c:v>1.2708169</c:v>
                </c:pt>
                <c:pt idx="538">
                  <c:v>1.2427842</c:v>
                </c:pt>
                <c:pt idx="539">
                  <c:v>1.3268823999999999</c:v>
                </c:pt>
                <c:pt idx="540">
                  <c:v>1.2708169</c:v>
                </c:pt>
                <c:pt idx="541">
                  <c:v>1.3175380999999999</c:v>
                </c:pt>
                <c:pt idx="542">
                  <c:v>1.2895053999999999</c:v>
                </c:pt>
                <c:pt idx="543">
                  <c:v>1.2427842</c:v>
                </c:pt>
                <c:pt idx="544">
                  <c:v>1.1960630000000001</c:v>
                </c:pt>
                <c:pt idx="545">
                  <c:v>1.1493418</c:v>
                </c:pt>
                <c:pt idx="546">
                  <c:v>1.0558993999999999</c:v>
                </c:pt>
                <c:pt idx="547">
                  <c:v>0.95311270000000003</c:v>
                </c:pt>
                <c:pt idx="548">
                  <c:v>0.8409818</c:v>
                </c:pt>
                <c:pt idx="549">
                  <c:v>0.78491630000000001</c:v>
                </c:pt>
                <c:pt idx="550">
                  <c:v>0.71950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7DC-463D-8531-AEA8D76944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#,##0.0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JIP_v_den_pozitivity_7dni_100_000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53</c:f>
              <c:numCache>
                <c:formatCode>m/d/yyyy</c:formatCode>
                <c:ptCount val="55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</c:numCache>
            </c:numRef>
          </c:cat>
          <c:val>
            <c:numRef>
              <c:f>Sheet1!$B$2:$B$553</c:f>
              <c:numCache>
                <c:formatCode>0.0%</c:formatCode>
                <c:ptCount val="552"/>
                <c:pt idx="0">
                  <c:v>7.000032</c:v>
                </c:pt>
                <c:pt idx="1">
                  <c:v>8.0000319999999991</c:v>
                </c:pt>
                <c:pt idx="2">
                  <c:v>10.000042000000001</c:v>
                </c:pt>
                <c:pt idx="3">
                  <c:v>3.6666669999999999</c:v>
                </c:pt>
                <c:pt idx="4">
                  <c:v>4.0000030000000004</c:v>
                </c:pt>
                <c:pt idx="5">
                  <c:v>4.666671</c:v>
                </c:pt>
                <c:pt idx="6">
                  <c:v>1.25</c:v>
                </c:pt>
                <c:pt idx="7">
                  <c:v>0.55555500000000002</c:v>
                </c:pt>
                <c:pt idx="8">
                  <c:v>0.36363600000000001</c:v>
                </c:pt>
                <c:pt idx="9">
                  <c:v>0.28571400000000002</c:v>
                </c:pt>
                <c:pt idx="10">
                  <c:v>0.26666600000000001</c:v>
                </c:pt>
                <c:pt idx="11">
                  <c:v>0</c:v>
                </c:pt>
                <c:pt idx="12">
                  <c:v>0</c:v>
                </c:pt>
                <c:pt idx="13">
                  <c:v>0.214286</c:v>
                </c:pt>
                <c:pt idx="14">
                  <c:v>0.8</c:v>
                </c:pt>
                <c:pt idx="15">
                  <c:v>0.44444400000000001</c:v>
                </c:pt>
                <c:pt idx="16">
                  <c:v>0.52631499999999998</c:v>
                </c:pt>
                <c:pt idx="17">
                  <c:v>0.70588200000000001</c:v>
                </c:pt>
                <c:pt idx="18">
                  <c:v>0.72222200000000003</c:v>
                </c:pt>
                <c:pt idx="19">
                  <c:v>1.1764699999999999</c:v>
                </c:pt>
                <c:pt idx="20">
                  <c:v>0.59259200000000001</c:v>
                </c:pt>
                <c:pt idx="21">
                  <c:v>0.53846099999999997</c:v>
                </c:pt>
                <c:pt idx="22">
                  <c:v>0.72413799999999995</c:v>
                </c:pt>
                <c:pt idx="23">
                  <c:v>0.96551699999999996</c:v>
                </c:pt>
                <c:pt idx="24">
                  <c:v>1</c:v>
                </c:pt>
                <c:pt idx="25">
                  <c:v>0.72972999999999999</c:v>
                </c:pt>
                <c:pt idx="26">
                  <c:v>0.44185999999999998</c:v>
                </c:pt>
                <c:pt idx="27">
                  <c:v>0.62499899999999997</c:v>
                </c:pt>
                <c:pt idx="28">
                  <c:v>0.38</c:v>
                </c:pt>
                <c:pt idx="29">
                  <c:v>0.19298199999999999</c:v>
                </c:pt>
                <c:pt idx="30">
                  <c:v>6.4516000000000004E-2</c:v>
                </c:pt>
                <c:pt idx="31">
                  <c:v>0.171874</c:v>
                </c:pt>
                <c:pt idx="32">
                  <c:v>0.27419300000000002</c:v>
                </c:pt>
                <c:pt idx="33">
                  <c:v>0.26153799999999999</c:v>
                </c:pt>
                <c:pt idx="34">
                  <c:v>0.56521699999999997</c:v>
                </c:pt>
                <c:pt idx="35">
                  <c:v>0.75</c:v>
                </c:pt>
                <c:pt idx="36">
                  <c:v>1.060605</c:v>
                </c:pt>
                <c:pt idx="37">
                  <c:v>0.93333299999999997</c:v>
                </c:pt>
                <c:pt idx="38">
                  <c:v>1.0253159999999999</c:v>
                </c:pt>
                <c:pt idx="39">
                  <c:v>1.097561</c:v>
                </c:pt>
                <c:pt idx="40">
                  <c:v>0.68518500000000004</c:v>
                </c:pt>
                <c:pt idx="41">
                  <c:v>0.45378099999999999</c:v>
                </c:pt>
                <c:pt idx="42">
                  <c:v>0.29411700000000002</c:v>
                </c:pt>
                <c:pt idx="43">
                  <c:v>0.24137900000000001</c:v>
                </c:pt>
                <c:pt idx="44">
                  <c:v>0.18124899999999999</c:v>
                </c:pt>
                <c:pt idx="45">
                  <c:v>0.16278999999999999</c:v>
                </c:pt>
                <c:pt idx="46">
                  <c:v>6.0439E-2</c:v>
                </c:pt>
                <c:pt idx="47">
                  <c:v>0.190751</c:v>
                </c:pt>
                <c:pt idx="48">
                  <c:v>0.30113600000000001</c:v>
                </c:pt>
                <c:pt idx="49">
                  <c:v>0.32777699999999999</c:v>
                </c:pt>
                <c:pt idx="50">
                  <c:v>0.35449700000000001</c:v>
                </c:pt>
                <c:pt idx="51">
                  <c:v>0.36499900000000002</c:v>
                </c:pt>
                <c:pt idx="52">
                  <c:v>0.38860099999999997</c:v>
                </c:pt>
                <c:pt idx="53">
                  <c:v>0.441747</c:v>
                </c:pt>
                <c:pt idx="54">
                  <c:v>0.340611</c:v>
                </c:pt>
                <c:pt idx="55">
                  <c:v>0.36401600000000001</c:v>
                </c:pt>
                <c:pt idx="56">
                  <c:v>0.38281199999999999</c:v>
                </c:pt>
                <c:pt idx="57">
                  <c:v>0.249084</c:v>
                </c:pt>
                <c:pt idx="58">
                  <c:v>0.30597000000000002</c:v>
                </c:pt>
                <c:pt idx="59">
                  <c:v>0.212121</c:v>
                </c:pt>
                <c:pt idx="60">
                  <c:v>0.17263800000000001</c:v>
                </c:pt>
                <c:pt idx="61">
                  <c:v>6.7484000000000002E-2</c:v>
                </c:pt>
                <c:pt idx="62">
                  <c:v>0</c:v>
                </c:pt>
                <c:pt idx="63">
                  <c:v>-1.7595E-2</c:v>
                </c:pt>
                <c:pt idx="64">
                  <c:v>-5.1428000000000001E-2</c:v>
                </c:pt>
                <c:pt idx="65">
                  <c:v>-8.6110999999999993E-2</c:v>
                </c:pt>
                <c:pt idx="66">
                  <c:v>-7.7776999999999999E-2</c:v>
                </c:pt>
                <c:pt idx="67">
                  <c:v>-7.4712000000000001E-2</c:v>
                </c:pt>
                <c:pt idx="68">
                  <c:v>-0.118644</c:v>
                </c:pt>
                <c:pt idx="69">
                  <c:v>-0.182089</c:v>
                </c:pt>
                <c:pt idx="70">
                  <c:v>-0.18072199999999999</c:v>
                </c:pt>
                <c:pt idx="71">
                  <c:v>-0.16109399999999999</c:v>
                </c:pt>
                <c:pt idx="72">
                  <c:v>-0.24698700000000001</c:v>
                </c:pt>
                <c:pt idx="73">
                  <c:v>-0.30434699999999998</c:v>
                </c:pt>
                <c:pt idx="74">
                  <c:v>-0.31089699999999998</c:v>
                </c:pt>
                <c:pt idx="75">
                  <c:v>-0.24087500000000001</c:v>
                </c:pt>
                <c:pt idx="76">
                  <c:v>-0.23161699999999999</c:v>
                </c:pt>
                <c:pt idx="77">
                  <c:v>-0.33695599999999998</c:v>
                </c:pt>
                <c:pt idx="78">
                  <c:v>-0.31199900000000003</c:v>
                </c:pt>
                <c:pt idx="79">
                  <c:v>-0.21875</c:v>
                </c:pt>
                <c:pt idx="80">
                  <c:v>-0.227906</c:v>
                </c:pt>
                <c:pt idx="81">
                  <c:v>-0.19230700000000001</c:v>
                </c:pt>
                <c:pt idx="82">
                  <c:v>-0.19617200000000001</c:v>
                </c:pt>
                <c:pt idx="83">
                  <c:v>-0.18579200000000001</c:v>
                </c:pt>
                <c:pt idx="84">
                  <c:v>-0.10465099999999999</c:v>
                </c:pt>
                <c:pt idx="85">
                  <c:v>-0.12571399999999999</c:v>
                </c:pt>
                <c:pt idx="86">
                  <c:v>-0.14457800000000001</c:v>
                </c:pt>
                <c:pt idx="87">
                  <c:v>-0.136904</c:v>
                </c:pt>
                <c:pt idx="88">
                  <c:v>-0.22023799999999999</c:v>
                </c:pt>
                <c:pt idx="89">
                  <c:v>-0.14093900000000001</c:v>
                </c:pt>
                <c:pt idx="90">
                  <c:v>-0.14285700000000001</c:v>
                </c:pt>
                <c:pt idx="91">
                  <c:v>-0.169934</c:v>
                </c:pt>
                <c:pt idx="92">
                  <c:v>-0.12676000000000001</c:v>
                </c:pt>
                <c:pt idx="93">
                  <c:v>-8.9654999999999999E-2</c:v>
                </c:pt>
                <c:pt idx="94">
                  <c:v>3.0533999999999999E-2</c:v>
                </c:pt>
                <c:pt idx="95">
                  <c:v>7.0311999999999999E-2</c:v>
                </c:pt>
                <c:pt idx="96">
                  <c:v>6.8181000000000005E-2</c:v>
                </c:pt>
                <c:pt idx="97">
                  <c:v>0.110236</c:v>
                </c:pt>
                <c:pt idx="98">
                  <c:v>0.209677</c:v>
                </c:pt>
                <c:pt idx="99">
                  <c:v>0.10606</c:v>
                </c:pt>
                <c:pt idx="100">
                  <c:v>6.6666000000000003E-2</c:v>
                </c:pt>
                <c:pt idx="101">
                  <c:v>-2.1897E-2</c:v>
                </c:pt>
                <c:pt idx="102">
                  <c:v>-2.1276E-2</c:v>
                </c:pt>
                <c:pt idx="103">
                  <c:v>-7.0920000000000002E-3</c:v>
                </c:pt>
                <c:pt idx="104">
                  <c:v>6.6660000000000001E-3</c:v>
                </c:pt>
                <c:pt idx="105">
                  <c:v>6.8490000000000001E-3</c:v>
                </c:pt>
                <c:pt idx="106">
                  <c:v>6.9439999999999997E-3</c:v>
                </c:pt>
                <c:pt idx="107">
                  <c:v>6.7164000000000001E-2</c:v>
                </c:pt>
                <c:pt idx="108">
                  <c:v>8.6956000000000006E-2</c:v>
                </c:pt>
                <c:pt idx="109">
                  <c:v>4.2856999999999999E-2</c:v>
                </c:pt>
                <c:pt idx="110">
                  <c:v>-1.9866999999999999E-2</c:v>
                </c:pt>
                <c:pt idx="111">
                  <c:v>-5.4420999999999997E-2</c:v>
                </c:pt>
                <c:pt idx="112">
                  <c:v>-4.8274999999999998E-2</c:v>
                </c:pt>
                <c:pt idx="113">
                  <c:v>0.111888</c:v>
                </c:pt>
                <c:pt idx="114">
                  <c:v>6.6660000000000001E-3</c:v>
                </c:pt>
                <c:pt idx="115">
                  <c:v>5.4794000000000002E-2</c:v>
                </c:pt>
                <c:pt idx="116">
                  <c:v>8.1081E-2</c:v>
                </c:pt>
                <c:pt idx="117">
                  <c:v>0.258992</c:v>
                </c:pt>
                <c:pt idx="118">
                  <c:v>0.47101399999999999</c:v>
                </c:pt>
                <c:pt idx="119">
                  <c:v>0.45283000000000001</c:v>
                </c:pt>
                <c:pt idx="120">
                  <c:v>0.54966800000000005</c:v>
                </c:pt>
                <c:pt idx="121">
                  <c:v>0.62337600000000004</c:v>
                </c:pt>
                <c:pt idx="122">
                  <c:v>0.53749899999999995</c:v>
                </c:pt>
                <c:pt idx="123">
                  <c:v>0.445714</c:v>
                </c:pt>
                <c:pt idx="124">
                  <c:v>0.23152700000000001</c:v>
                </c:pt>
                <c:pt idx="125">
                  <c:v>2.1645000000000001E-2</c:v>
                </c:pt>
                <c:pt idx="126">
                  <c:v>1.7094000000000002E-2</c:v>
                </c:pt>
                <c:pt idx="127">
                  <c:v>-4.7999E-2</c:v>
                </c:pt>
                <c:pt idx="128">
                  <c:v>-4.0649999999999999E-2</c:v>
                </c:pt>
                <c:pt idx="129">
                  <c:v>3.9519999999999998E-3</c:v>
                </c:pt>
                <c:pt idx="130">
                  <c:v>4.3999999999999997E-2</c:v>
                </c:pt>
                <c:pt idx="131">
                  <c:v>7.2033E-2</c:v>
                </c:pt>
                <c:pt idx="132">
                  <c:v>2.9411E-2</c:v>
                </c:pt>
                <c:pt idx="133">
                  <c:v>-6.7225999999999994E-2</c:v>
                </c:pt>
                <c:pt idx="134">
                  <c:v>-9.7457000000000002E-2</c:v>
                </c:pt>
                <c:pt idx="135">
                  <c:v>-0.12598400000000001</c:v>
                </c:pt>
                <c:pt idx="136">
                  <c:v>-0.18007600000000001</c:v>
                </c:pt>
                <c:pt idx="137">
                  <c:v>-0.23320099999999999</c:v>
                </c:pt>
                <c:pt idx="138">
                  <c:v>-0.240816</c:v>
                </c:pt>
                <c:pt idx="139">
                  <c:v>-0.14414399999999999</c:v>
                </c:pt>
                <c:pt idx="140">
                  <c:v>-9.3895999999999993E-2</c:v>
                </c:pt>
                <c:pt idx="141">
                  <c:v>-0.13513500000000001</c:v>
                </c:pt>
                <c:pt idx="142">
                  <c:v>-0.21495300000000001</c:v>
                </c:pt>
                <c:pt idx="143">
                  <c:v>-0.14948400000000001</c:v>
                </c:pt>
                <c:pt idx="144">
                  <c:v>-6.9891999999999996E-2</c:v>
                </c:pt>
                <c:pt idx="145">
                  <c:v>-9.4736000000000001E-2</c:v>
                </c:pt>
                <c:pt idx="146">
                  <c:v>-0.103626</c:v>
                </c:pt>
                <c:pt idx="147">
                  <c:v>-9.3748999999999999E-2</c:v>
                </c:pt>
                <c:pt idx="148">
                  <c:v>-4.7619000000000002E-2</c:v>
                </c:pt>
                <c:pt idx="149">
                  <c:v>0</c:v>
                </c:pt>
                <c:pt idx="150">
                  <c:v>-1.7340999999999999E-2</c:v>
                </c:pt>
                <c:pt idx="151">
                  <c:v>-5.8129999999999996E-3</c:v>
                </c:pt>
                <c:pt idx="152">
                  <c:v>5.7800000000000004E-3</c:v>
                </c:pt>
                <c:pt idx="153">
                  <c:v>2.2988000000000001E-2</c:v>
                </c:pt>
                <c:pt idx="154">
                  <c:v>4.3749999999999997E-2</c:v>
                </c:pt>
                <c:pt idx="155">
                  <c:v>5.4545000000000003E-2</c:v>
                </c:pt>
                <c:pt idx="156">
                  <c:v>0.111764</c:v>
                </c:pt>
                <c:pt idx="157">
                  <c:v>0.11695899999999999</c:v>
                </c:pt>
                <c:pt idx="158">
                  <c:v>9.7700999999999996E-2</c:v>
                </c:pt>
                <c:pt idx="159">
                  <c:v>4.4942999999999997E-2</c:v>
                </c:pt>
                <c:pt idx="160">
                  <c:v>4.7904000000000002E-2</c:v>
                </c:pt>
                <c:pt idx="161">
                  <c:v>0.114942</c:v>
                </c:pt>
                <c:pt idx="162">
                  <c:v>6.8782999999999997E-2</c:v>
                </c:pt>
                <c:pt idx="163">
                  <c:v>5.2350000000000001E-3</c:v>
                </c:pt>
                <c:pt idx="164">
                  <c:v>-4.7120000000000002E-2</c:v>
                </c:pt>
                <c:pt idx="165">
                  <c:v>-9.6773999999999999E-2</c:v>
                </c:pt>
                <c:pt idx="166">
                  <c:v>2.8570999999999999E-2</c:v>
                </c:pt>
                <c:pt idx="167">
                  <c:v>-7.2164000000000006E-2</c:v>
                </c:pt>
                <c:pt idx="168">
                  <c:v>-9.4059000000000004E-2</c:v>
                </c:pt>
                <c:pt idx="169">
                  <c:v>-5.208E-3</c:v>
                </c:pt>
                <c:pt idx="170">
                  <c:v>9.8901000000000003E-2</c:v>
                </c:pt>
                <c:pt idx="171">
                  <c:v>0.17261899999999999</c:v>
                </c:pt>
                <c:pt idx="172">
                  <c:v>0.23888799999999999</c:v>
                </c:pt>
                <c:pt idx="173">
                  <c:v>0.27222200000000002</c:v>
                </c:pt>
                <c:pt idx="174">
                  <c:v>0.31693900000000003</c:v>
                </c:pt>
                <c:pt idx="175">
                  <c:v>0.22513</c:v>
                </c:pt>
                <c:pt idx="176">
                  <c:v>0.159999</c:v>
                </c:pt>
                <c:pt idx="177">
                  <c:v>0.213197</c:v>
                </c:pt>
                <c:pt idx="178">
                  <c:v>0.112107</c:v>
                </c:pt>
                <c:pt idx="179">
                  <c:v>3.0567E-2</c:v>
                </c:pt>
                <c:pt idx="180">
                  <c:v>-8.2979999999999998E-3</c:v>
                </c:pt>
                <c:pt idx="181">
                  <c:v>2.1367000000000001E-2</c:v>
                </c:pt>
                <c:pt idx="182">
                  <c:v>5.1723999999999999E-2</c:v>
                </c:pt>
                <c:pt idx="183">
                  <c:v>8.3680000000000004E-3</c:v>
                </c:pt>
                <c:pt idx="184">
                  <c:v>-6.0483000000000002E-2</c:v>
                </c:pt>
                <c:pt idx="185">
                  <c:v>3.8135000000000002E-2</c:v>
                </c:pt>
                <c:pt idx="186">
                  <c:v>5.4392999999999997E-2</c:v>
                </c:pt>
                <c:pt idx="187">
                  <c:v>-1.6736000000000001E-2</c:v>
                </c:pt>
                <c:pt idx="188">
                  <c:v>2.4590000000000001E-2</c:v>
                </c:pt>
                <c:pt idx="189">
                  <c:v>-8.2979999999999998E-3</c:v>
                </c:pt>
                <c:pt idx="190">
                  <c:v>1.7167000000000002E-2</c:v>
                </c:pt>
                <c:pt idx="191">
                  <c:v>1.6326E-2</c:v>
                </c:pt>
                <c:pt idx="192">
                  <c:v>4.3650000000000001E-2</c:v>
                </c:pt>
                <c:pt idx="193">
                  <c:v>7.2340000000000002E-2</c:v>
                </c:pt>
                <c:pt idx="194">
                  <c:v>1.9998999999999999E-2</c:v>
                </c:pt>
                <c:pt idx="195">
                  <c:v>3.7656000000000002E-2</c:v>
                </c:pt>
                <c:pt idx="196">
                  <c:v>2.1097000000000001E-2</c:v>
                </c:pt>
                <c:pt idx="197">
                  <c:v>-1.2048E-2</c:v>
                </c:pt>
                <c:pt idx="198">
                  <c:v>-0.133079</c:v>
                </c:pt>
                <c:pt idx="199">
                  <c:v>-0.19841200000000001</c:v>
                </c:pt>
                <c:pt idx="200">
                  <c:v>-0.21176400000000001</c:v>
                </c:pt>
                <c:pt idx="201">
                  <c:v>-0.221774</c:v>
                </c:pt>
                <c:pt idx="202">
                  <c:v>-0.21487600000000001</c:v>
                </c:pt>
                <c:pt idx="203">
                  <c:v>-0.162601</c:v>
                </c:pt>
                <c:pt idx="204">
                  <c:v>-0.15350800000000001</c:v>
                </c:pt>
                <c:pt idx="205">
                  <c:v>-1.4851E-2</c:v>
                </c:pt>
                <c:pt idx="206">
                  <c:v>-3.4825000000000002E-2</c:v>
                </c:pt>
                <c:pt idx="207">
                  <c:v>-1.0362E-2</c:v>
                </c:pt>
                <c:pt idx="208">
                  <c:v>3.6842E-2</c:v>
                </c:pt>
                <c:pt idx="209">
                  <c:v>-8.2524E-2</c:v>
                </c:pt>
                <c:pt idx="210">
                  <c:v>-0.12953300000000001</c:v>
                </c:pt>
                <c:pt idx="211">
                  <c:v>-0.165829</c:v>
                </c:pt>
                <c:pt idx="212">
                  <c:v>-0.170103</c:v>
                </c:pt>
                <c:pt idx="213">
                  <c:v>-0.17801</c:v>
                </c:pt>
                <c:pt idx="214">
                  <c:v>-0.19796900000000001</c:v>
                </c:pt>
                <c:pt idx="215">
                  <c:v>-0.15873000000000001</c:v>
                </c:pt>
                <c:pt idx="216">
                  <c:v>-0.20238</c:v>
                </c:pt>
                <c:pt idx="217">
                  <c:v>-0.15060200000000001</c:v>
                </c:pt>
                <c:pt idx="218">
                  <c:v>-0.11801200000000001</c:v>
                </c:pt>
                <c:pt idx="219">
                  <c:v>-0.13375699999999999</c:v>
                </c:pt>
                <c:pt idx="220">
                  <c:v>-0.15189800000000001</c:v>
                </c:pt>
                <c:pt idx="221">
                  <c:v>-0.119496</c:v>
                </c:pt>
                <c:pt idx="222">
                  <c:v>2.2388000000000002E-2</c:v>
                </c:pt>
                <c:pt idx="223">
                  <c:v>0.10638300000000001</c:v>
                </c:pt>
                <c:pt idx="224">
                  <c:v>-7.0419999999999996E-3</c:v>
                </c:pt>
                <c:pt idx="225">
                  <c:v>-1.4704999999999999E-2</c:v>
                </c:pt>
                <c:pt idx="226">
                  <c:v>-5.9700999999999997E-2</c:v>
                </c:pt>
                <c:pt idx="227">
                  <c:v>-0.12142799999999999</c:v>
                </c:pt>
                <c:pt idx="228">
                  <c:v>-0.145985</c:v>
                </c:pt>
                <c:pt idx="229">
                  <c:v>-0.28846100000000002</c:v>
                </c:pt>
                <c:pt idx="230">
                  <c:v>-0.29077999999999998</c:v>
                </c:pt>
                <c:pt idx="231">
                  <c:v>-0.22388</c:v>
                </c:pt>
                <c:pt idx="232">
                  <c:v>-0.206349</c:v>
                </c:pt>
                <c:pt idx="233">
                  <c:v>-0.19512099999999999</c:v>
                </c:pt>
                <c:pt idx="234">
                  <c:v>-0.16239300000000001</c:v>
                </c:pt>
                <c:pt idx="235">
                  <c:v>-0.17117099999999999</c:v>
                </c:pt>
                <c:pt idx="236">
                  <c:v>-7.9999000000000001E-2</c:v>
                </c:pt>
                <c:pt idx="237">
                  <c:v>-0.18269199999999999</c:v>
                </c:pt>
                <c:pt idx="238">
                  <c:v>-0.23</c:v>
                </c:pt>
                <c:pt idx="239">
                  <c:v>-0.16161600000000001</c:v>
                </c:pt>
                <c:pt idx="240">
                  <c:v>-0.17346900000000001</c:v>
                </c:pt>
                <c:pt idx="241">
                  <c:v>-0.20652100000000001</c:v>
                </c:pt>
                <c:pt idx="242">
                  <c:v>-0.28260800000000003</c:v>
                </c:pt>
                <c:pt idx="243">
                  <c:v>-0.25882300000000003</c:v>
                </c:pt>
                <c:pt idx="244">
                  <c:v>-0.233766</c:v>
                </c:pt>
                <c:pt idx="245">
                  <c:v>-0.22891500000000001</c:v>
                </c:pt>
                <c:pt idx="246">
                  <c:v>-0.33333299999999999</c:v>
                </c:pt>
                <c:pt idx="247">
                  <c:v>-0.31506800000000001</c:v>
                </c:pt>
                <c:pt idx="248">
                  <c:v>-0.212121</c:v>
                </c:pt>
                <c:pt idx="249">
                  <c:v>-0.12698400000000001</c:v>
                </c:pt>
                <c:pt idx="250">
                  <c:v>-5.0847000000000003E-2</c:v>
                </c:pt>
                <c:pt idx="251">
                  <c:v>-0.171875</c:v>
                </c:pt>
                <c:pt idx="252">
                  <c:v>-0.12962899999999999</c:v>
                </c:pt>
                <c:pt idx="253">
                  <c:v>-0.02</c:v>
                </c:pt>
                <c:pt idx="254">
                  <c:v>-7.6923000000000005E-2</c:v>
                </c:pt>
                <c:pt idx="255">
                  <c:v>-0.2</c:v>
                </c:pt>
                <c:pt idx="256">
                  <c:v>-0.26785700000000001</c:v>
                </c:pt>
                <c:pt idx="257">
                  <c:v>-0.33962199999999998</c:v>
                </c:pt>
                <c:pt idx="258">
                  <c:v>-0.31914799999999999</c:v>
                </c:pt>
                <c:pt idx="259">
                  <c:v>-0.36734600000000001</c:v>
                </c:pt>
                <c:pt idx="260">
                  <c:v>-0.41666599999999998</c:v>
                </c:pt>
                <c:pt idx="261">
                  <c:v>-0.45454499999999998</c:v>
                </c:pt>
                <c:pt idx="262">
                  <c:v>-0.414634</c:v>
                </c:pt>
                <c:pt idx="263">
                  <c:v>-0.25714199999999998</c:v>
                </c:pt>
                <c:pt idx="264">
                  <c:v>-0.187499</c:v>
                </c:pt>
                <c:pt idx="265">
                  <c:v>-0.22580600000000001</c:v>
                </c:pt>
                <c:pt idx="266">
                  <c:v>-0.28571400000000002</c:v>
                </c:pt>
                <c:pt idx="267">
                  <c:v>-0.20833299999999999</c:v>
                </c:pt>
                <c:pt idx="268">
                  <c:v>-0.20833299999999999</c:v>
                </c:pt>
                <c:pt idx="269">
                  <c:v>-0.38461499999999998</c:v>
                </c:pt>
                <c:pt idx="270">
                  <c:v>-0.53846099999999997</c:v>
                </c:pt>
                <c:pt idx="271">
                  <c:v>-0.45833299999999999</c:v>
                </c:pt>
                <c:pt idx="272">
                  <c:v>-0.25</c:v>
                </c:pt>
                <c:pt idx="273">
                  <c:v>-0.263158</c:v>
                </c:pt>
                <c:pt idx="274">
                  <c:v>-0.42105199999999998</c:v>
                </c:pt>
                <c:pt idx="275">
                  <c:v>-0.3125</c:v>
                </c:pt>
                <c:pt idx="276">
                  <c:v>-8.3333000000000004E-2</c:v>
                </c:pt>
                <c:pt idx="277">
                  <c:v>-0.230769</c:v>
                </c:pt>
                <c:pt idx="278">
                  <c:v>-0.4</c:v>
                </c:pt>
                <c:pt idx="279">
                  <c:v>-0.64285599999999998</c:v>
                </c:pt>
                <c:pt idx="280">
                  <c:v>-0.54545399999999999</c:v>
                </c:pt>
                <c:pt idx="281">
                  <c:v>-0.54545399999999999</c:v>
                </c:pt>
                <c:pt idx="282">
                  <c:v>-0.63636400000000004</c:v>
                </c:pt>
                <c:pt idx="283">
                  <c:v>-0.6</c:v>
                </c:pt>
                <c:pt idx="284">
                  <c:v>-0.55555500000000002</c:v>
                </c:pt>
                <c:pt idx="285">
                  <c:v>-0.4</c:v>
                </c:pt>
                <c:pt idx="286">
                  <c:v>-0.20000100000000001</c:v>
                </c:pt>
                <c:pt idx="287">
                  <c:v>0</c:v>
                </c:pt>
                <c:pt idx="288">
                  <c:v>0.250002</c:v>
                </c:pt>
                <c:pt idx="289">
                  <c:v>0</c:v>
                </c:pt>
                <c:pt idx="290">
                  <c:v>0.250002</c:v>
                </c:pt>
                <c:pt idx="291">
                  <c:v>1</c:v>
                </c:pt>
                <c:pt idx="292">
                  <c:v>0.75</c:v>
                </c:pt>
                <c:pt idx="293">
                  <c:v>0.19999900000000001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-0.5</c:v>
                </c:pt>
                <c:pt idx="298">
                  <c:v>-0.71428599999999998</c:v>
                </c:pt>
                <c:pt idx="299">
                  <c:v>-0.83333299999999999</c:v>
                </c:pt>
                <c:pt idx="300">
                  <c:v>-0.60000100000000001</c:v>
                </c:pt>
                <c:pt idx="301">
                  <c:v>-0.50000100000000003</c:v>
                </c:pt>
                <c:pt idx="302">
                  <c:v>-0.4</c:v>
                </c:pt>
                <c:pt idx="303">
                  <c:v>0</c:v>
                </c:pt>
                <c:pt idx="304">
                  <c:v>1.000005</c:v>
                </c:pt>
                <c:pt idx="305">
                  <c:v>3.0000100000000001</c:v>
                </c:pt>
                <c:pt idx="306">
                  <c:v>1.000005</c:v>
                </c:pt>
                <c:pt idx="307">
                  <c:v>0.50000500000000003</c:v>
                </c:pt>
                <c:pt idx="308">
                  <c:v>0</c:v>
                </c:pt>
                <c:pt idx="309">
                  <c:v>0</c:v>
                </c:pt>
                <c:pt idx="310">
                  <c:v>-0.50000100000000003</c:v>
                </c:pt>
                <c:pt idx="311">
                  <c:v>-0.75</c:v>
                </c:pt>
                <c:pt idx="312">
                  <c:v>-0.75</c:v>
                </c:pt>
                <c:pt idx="313">
                  <c:v>-0.66666700000000001</c:v>
                </c:pt>
                <c:pt idx="314">
                  <c:v>-0.33333499999999999</c:v>
                </c:pt>
                <c:pt idx="315">
                  <c:v>-0.33333499999999999</c:v>
                </c:pt>
                <c:pt idx="316">
                  <c:v>0</c:v>
                </c:pt>
                <c:pt idx="317">
                  <c:v>2.0000100000000001</c:v>
                </c:pt>
                <c:pt idx="318">
                  <c:v>2.0000100000000001</c:v>
                </c:pt>
                <c:pt idx="319">
                  <c:v>2.0000100000000001</c:v>
                </c:pt>
                <c:pt idx="320">
                  <c:v>1.000005</c:v>
                </c:pt>
                <c:pt idx="321">
                  <c:v>1.000005</c:v>
                </c:pt>
                <c:pt idx="322">
                  <c:v>1.000005</c:v>
                </c:pt>
                <c:pt idx="323">
                  <c:v>0</c:v>
                </c:pt>
                <c:pt idx="324">
                  <c:v>0</c:v>
                </c:pt>
                <c:pt idx="325">
                  <c:v>0.33333200000000002</c:v>
                </c:pt>
                <c:pt idx="326">
                  <c:v>0</c:v>
                </c:pt>
                <c:pt idx="327">
                  <c:v>-0.249999</c:v>
                </c:pt>
                <c:pt idx="328">
                  <c:v>-0.249999</c:v>
                </c:pt>
                <c:pt idx="329">
                  <c:v>0</c:v>
                </c:pt>
                <c:pt idx="330">
                  <c:v>0</c:v>
                </c:pt>
                <c:pt idx="331">
                  <c:v>-0.249999</c:v>
                </c:pt>
                <c:pt idx="332">
                  <c:v>0</c:v>
                </c:pt>
                <c:pt idx="333">
                  <c:v>0.66666700000000001</c:v>
                </c:pt>
                <c:pt idx="334">
                  <c:v>0.66666700000000001</c:v>
                </c:pt>
                <c:pt idx="335">
                  <c:v>0.33333200000000002</c:v>
                </c:pt>
                <c:pt idx="336">
                  <c:v>1</c:v>
                </c:pt>
                <c:pt idx="337">
                  <c:v>1.333332</c:v>
                </c:pt>
                <c:pt idx="338">
                  <c:v>0.50000100000000003</c:v>
                </c:pt>
                <c:pt idx="339">
                  <c:v>0</c:v>
                </c:pt>
                <c:pt idx="340">
                  <c:v>-0.20000100000000001</c:v>
                </c:pt>
                <c:pt idx="341">
                  <c:v>0</c:v>
                </c:pt>
                <c:pt idx="342">
                  <c:v>-0.16666600000000001</c:v>
                </c:pt>
                <c:pt idx="343">
                  <c:v>-0.57142800000000005</c:v>
                </c:pt>
                <c:pt idx="344">
                  <c:v>-0.33333299999999999</c:v>
                </c:pt>
                <c:pt idx="345">
                  <c:v>-0.20000100000000001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.66666700000000001</c:v>
                </c:pt>
                <c:pt idx="350">
                  <c:v>0.250002</c:v>
                </c:pt>
                <c:pt idx="351">
                  <c:v>-0.249999</c:v>
                </c:pt>
                <c:pt idx="352">
                  <c:v>-0.249999</c:v>
                </c:pt>
                <c:pt idx="353">
                  <c:v>0.250002</c:v>
                </c:pt>
                <c:pt idx="354">
                  <c:v>0.19999900000000001</c:v>
                </c:pt>
                <c:pt idx="355">
                  <c:v>0</c:v>
                </c:pt>
                <c:pt idx="356">
                  <c:v>0</c:v>
                </c:pt>
                <c:pt idx="357">
                  <c:v>1</c:v>
                </c:pt>
                <c:pt idx="358">
                  <c:v>1.333332</c:v>
                </c:pt>
                <c:pt idx="359">
                  <c:v>0.39999800000000002</c:v>
                </c:pt>
                <c:pt idx="360">
                  <c:v>-0.33333299999999999</c:v>
                </c:pt>
                <c:pt idx="361">
                  <c:v>-0.4</c:v>
                </c:pt>
                <c:pt idx="362">
                  <c:v>-0.4</c:v>
                </c:pt>
                <c:pt idx="363">
                  <c:v>-0.66666700000000001</c:v>
                </c:pt>
                <c:pt idx="364">
                  <c:v>-0.85714299999999999</c:v>
                </c:pt>
                <c:pt idx="365">
                  <c:v>-0.85714299999999999</c:v>
                </c:pt>
                <c:pt idx="366">
                  <c:v>-0.75</c:v>
                </c:pt>
                <c:pt idx="367">
                  <c:v>0.66666700000000001</c:v>
                </c:pt>
                <c:pt idx="368">
                  <c:v>0.66666700000000001</c:v>
                </c:pt>
                <c:pt idx="369">
                  <c:v>2.0000100000000001</c:v>
                </c:pt>
                <c:pt idx="370">
                  <c:v>6.0000210000000003</c:v>
                </c:pt>
                <c:pt idx="371">
                  <c:v>8.0000319999999991</c:v>
                </c:pt>
                <c:pt idx="372">
                  <c:v>7.000032</c:v>
                </c:pt>
                <c:pt idx="373">
                  <c:v>0.59999899999999995</c:v>
                </c:pt>
                <c:pt idx="374">
                  <c:v>0.19999900000000001</c:v>
                </c:pt>
                <c:pt idx="375">
                  <c:v>0</c:v>
                </c:pt>
                <c:pt idx="376">
                  <c:v>-0.28571299999999999</c:v>
                </c:pt>
                <c:pt idx="377">
                  <c:v>-0.11111</c:v>
                </c:pt>
                <c:pt idx="378">
                  <c:v>0.124999</c:v>
                </c:pt>
                <c:pt idx="379">
                  <c:v>0.124999</c:v>
                </c:pt>
                <c:pt idx="380">
                  <c:v>0.83333299999999999</c:v>
                </c:pt>
                <c:pt idx="381">
                  <c:v>0.66666700000000001</c:v>
                </c:pt>
                <c:pt idx="382">
                  <c:v>1</c:v>
                </c:pt>
                <c:pt idx="383">
                  <c:v>0.37499900000000003</c:v>
                </c:pt>
                <c:pt idx="384">
                  <c:v>-0.11111</c:v>
                </c:pt>
                <c:pt idx="385">
                  <c:v>-0.44444400000000001</c:v>
                </c:pt>
                <c:pt idx="386">
                  <c:v>-0.45454499999999998</c:v>
                </c:pt>
                <c:pt idx="387">
                  <c:v>-0.4</c:v>
                </c:pt>
                <c:pt idx="388">
                  <c:v>-0.3</c:v>
                </c:pt>
                <c:pt idx="389">
                  <c:v>-0.18181800000000001</c:v>
                </c:pt>
                <c:pt idx="390">
                  <c:v>0.25</c:v>
                </c:pt>
                <c:pt idx="391">
                  <c:v>1.4</c:v>
                </c:pt>
                <c:pt idx="392">
                  <c:v>1.1666669999999999</c:v>
                </c:pt>
                <c:pt idx="393">
                  <c:v>1.6666669999999999</c:v>
                </c:pt>
                <c:pt idx="394">
                  <c:v>1.1428590000000001</c:v>
                </c:pt>
                <c:pt idx="395">
                  <c:v>0.88888999999999996</c:v>
                </c:pt>
                <c:pt idx="396">
                  <c:v>0.5</c:v>
                </c:pt>
                <c:pt idx="397">
                  <c:v>0.249999</c:v>
                </c:pt>
                <c:pt idx="398">
                  <c:v>0.30769200000000002</c:v>
                </c:pt>
                <c:pt idx="399">
                  <c:v>0.6875</c:v>
                </c:pt>
                <c:pt idx="400">
                  <c:v>1.2</c:v>
                </c:pt>
                <c:pt idx="401">
                  <c:v>1.1176470000000001</c:v>
                </c:pt>
                <c:pt idx="402">
                  <c:v>1.2666660000000001</c:v>
                </c:pt>
                <c:pt idx="403">
                  <c:v>1.3333330000000001</c:v>
                </c:pt>
                <c:pt idx="404">
                  <c:v>1.0588230000000001</c:v>
                </c:pt>
                <c:pt idx="405">
                  <c:v>0.48148099999999999</c:v>
                </c:pt>
                <c:pt idx="406">
                  <c:v>-6.0606E-2</c:v>
                </c:pt>
                <c:pt idx="407">
                  <c:v>-0.25</c:v>
                </c:pt>
                <c:pt idx="408">
                  <c:v>-0.117647</c:v>
                </c:pt>
                <c:pt idx="409">
                  <c:v>-8.5713999999999999E-2</c:v>
                </c:pt>
                <c:pt idx="410">
                  <c:v>-5.7141999999999998E-2</c:v>
                </c:pt>
                <c:pt idx="411">
                  <c:v>-0.125</c:v>
                </c:pt>
                <c:pt idx="412">
                  <c:v>3.2257000000000001E-2</c:v>
                </c:pt>
                <c:pt idx="413">
                  <c:v>0.222222</c:v>
                </c:pt>
                <c:pt idx="414">
                  <c:v>0.13333300000000001</c:v>
                </c:pt>
                <c:pt idx="415">
                  <c:v>-6.25E-2</c:v>
                </c:pt>
                <c:pt idx="416">
                  <c:v>0</c:v>
                </c:pt>
                <c:pt idx="417">
                  <c:v>2.8570999999999999E-2</c:v>
                </c:pt>
                <c:pt idx="418">
                  <c:v>0.31249900000000003</c:v>
                </c:pt>
                <c:pt idx="419">
                  <c:v>0.72727200000000003</c:v>
                </c:pt>
                <c:pt idx="420">
                  <c:v>0.735294</c:v>
                </c:pt>
                <c:pt idx="421">
                  <c:v>1.0333330000000001</c:v>
                </c:pt>
                <c:pt idx="422">
                  <c:v>1.060605</c:v>
                </c:pt>
                <c:pt idx="423">
                  <c:v>0.94444399999999995</c:v>
                </c:pt>
                <c:pt idx="424">
                  <c:v>0.69047599999999998</c:v>
                </c:pt>
                <c:pt idx="425">
                  <c:v>0.19298199999999999</c:v>
                </c:pt>
                <c:pt idx="426">
                  <c:v>0.22033800000000001</c:v>
                </c:pt>
                <c:pt idx="427">
                  <c:v>0.45901599999999998</c:v>
                </c:pt>
                <c:pt idx="428">
                  <c:v>0.41176400000000002</c:v>
                </c:pt>
                <c:pt idx="429">
                  <c:v>0.41428500000000001</c:v>
                </c:pt>
                <c:pt idx="430">
                  <c:v>0.57746399999999998</c:v>
                </c:pt>
                <c:pt idx="431">
                  <c:v>0.83823499999999995</c:v>
                </c:pt>
                <c:pt idx="432">
                  <c:v>0.875</c:v>
                </c:pt>
                <c:pt idx="433">
                  <c:v>0.55056099999999997</c:v>
                </c:pt>
                <c:pt idx="434">
                  <c:v>0.46875</c:v>
                </c:pt>
                <c:pt idx="435">
                  <c:v>0.54545399999999999</c:v>
                </c:pt>
                <c:pt idx="436">
                  <c:v>0.45535700000000001</c:v>
                </c:pt>
                <c:pt idx="437">
                  <c:v>0.27199899999999999</c:v>
                </c:pt>
                <c:pt idx="438">
                  <c:v>0.162962</c:v>
                </c:pt>
                <c:pt idx="439">
                  <c:v>0.152173</c:v>
                </c:pt>
                <c:pt idx="440">
                  <c:v>0.14893600000000001</c:v>
                </c:pt>
                <c:pt idx="441">
                  <c:v>4.5751E-2</c:v>
                </c:pt>
                <c:pt idx="442">
                  <c:v>-6.1349000000000001E-2</c:v>
                </c:pt>
                <c:pt idx="443">
                  <c:v>4.4025000000000002E-2</c:v>
                </c:pt>
                <c:pt idx="444">
                  <c:v>0.13375699999999999</c:v>
                </c:pt>
                <c:pt idx="445">
                  <c:v>0.13836399999999999</c:v>
                </c:pt>
                <c:pt idx="446">
                  <c:v>0.191358</c:v>
                </c:pt>
                <c:pt idx="447">
                  <c:v>0.26249899999999998</c:v>
                </c:pt>
                <c:pt idx="448">
                  <c:v>0.47712399999999999</c:v>
                </c:pt>
                <c:pt idx="449">
                  <c:v>0.34337299999999998</c:v>
                </c:pt>
                <c:pt idx="450">
                  <c:v>0.30336999999999997</c:v>
                </c:pt>
                <c:pt idx="451">
                  <c:v>0.29281699999999999</c:v>
                </c:pt>
                <c:pt idx="452">
                  <c:v>0.24352299999999999</c:v>
                </c:pt>
                <c:pt idx="453">
                  <c:v>0.13861299999999999</c:v>
                </c:pt>
                <c:pt idx="454">
                  <c:v>-8.8489999999999992E-3</c:v>
                </c:pt>
                <c:pt idx="455">
                  <c:v>-9.8654000000000006E-2</c:v>
                </c:pt>
                <c:pt idx="456">
                  <c:v>-6.4655000000000004E-2</c:v>
                </c:pt>
                <c:pt idx="457">
                  <c:v>-0.15384600000000001</c:v>
                </c:pt>
                <c:pt idx="458">
                  <c:v>-0.23749999999999999</c:v>
                </c:pt>
                <c:pt idx="459">
                  <c:v>-0.230434</c:v>
                </c:pt>
                <c:pt idx="460">
                  <c:v>-0.23214199999999999</c:v>
                </c:pt>
                <c:pt idx="461">
                  <c:v>-0.114427</c:v>
                </c:pt>
                <c:pt idx="462">
                  <c:v>-0.18433099999999999</c:v>
                </c:pt>
                <c:pt idx="463">
                  <c:v>-0.20202000000000001</c:v>
                </c:pt>
                <c:pt idx="464">
                  <c:v>-0.163934</c:v>
                </c:pt>
                <c:pt idx="465">
                  <c:v>-0.118644</c:v>
                </c:pt>
                <c:pt idx="466">
                  <c:v>-0.12790699999999999</c:v>
                </c:pt>
                <c:pt idx="467">
                  <c:v>-0.157303</c:v>
                </c:pt>
                <c:pt idx="468">
                  <c:v>-0.248587</c:v>
                </c:pt>
                <c:pt idx="469">
                  <c:v>-0.132911</c:v>
                </c:pt>
                <c:pt idx="470">
                  <c:v>-4.5751E-2</c:v>
                </c:pt>
                <c:pt idx="471">
                  <c:v>-7.6923000000000005E-2</c:v>
                </c:pt>
                <c:pt idx="472">
                  <c:v>-7.9999000000000001E-2</c:v>
                </c:pt>
                <c:pt idx="473">
                  <c:v>-0.13333300000000001</c:v>
                </c:pt>
                <c:pt idx="474">
                  <c:v>-6.0150000000000002E-2</c:v>
                </c:pt>
                <c:pt idx="475">
                  <c:v>-5.1094000000000001E-2</c:v>
                </c:pt>
                <c:pt idx="476">
                  <c:v>-0.14383499999999999</c:v>
                </c:pt>
                <c:pt idx="477">
                  <c:v>-0.20833299999999999</c:v>
                </c:pt>
                <c:pt idx="478">
                  <c:v>-0.17391300000000001</c:v>
                </c:pt>
                <c:pt idx="479">
                  <c:v>-0.15384600000000001</c:v>
                </c:pt>
                <c:pt idx="480">
                  <c:v>-0.08</c:v>
                </c:pt>
                <c:pt idx="481">
                  <c:v>-0.115384</c:v>
                </c:pt>
                <c:pt idx="482">
                  <c:v>-0.12</c:v>
                </c:pt>
                <c:pt idx="483">
                  <c:v>2.6315000000000002E-2</c:v>
                </c:pt>
                <c:pt idx="484">
                  <c:v>7.0175000000000001E-2</c:v>
                </c:pt>
                <c:pt idx="485">
                  <c:v>5.4545000000000003E-2</c:v>
                </c:pt>
                <c:pt idx="486">
                  <c:v>3.4782E-2</c:v>
                </c:pt>
                <c:pt idx="487">
                  <c:v>6.0868999999999999E-2</c:v>
                </c:pt>
                <c:pt idx="488">
                  <c:v>0.10909000000000001</c:v>
                </c:pt>
                <c:pt idx="489">
                  <c:v>-5.1282000000000001E-2</c:v>
                </c:pt>
                <c:pt idx="490">
                  <c:v>-0.22950799999999999</c:v>
                </c:pt>
                <c:pt idx="491">
                  <c:v>-0.275862</c:v>
                </c:pt>
                <c:pt idx="492">
                  <c:v>-0.34453699999999998</c:v>
                </c:pt>
                <c:pt idx="493">
                  <c:v>-0.360655</c:v>
                </c:pt>
                <c:pt idx="494">
                  <c:v>-0.40163900000000002</c:v>
                </c:pt>
                <c:pt idx="495">
                  <c:v>-0.36036000000000001</c:v>
                </c:pt>
                <c:pt idx="496">
                  <c:v>-0.25531900000000002</c:v>
                </c:pt>
                <c:pt idx="497">
                  <c:v>-0.16666600000000001</c:v>
                </c:pt>
                <c:pt idx="498">
                  <c:v>-8.9743000000000003E-2</c:v>
                </c:pt>
                <c:pt idx="499">
                  <c:v>-0.115384</c:v>
                </c:pt>
                <c:pt idx="500">
                  <c:v>-5.4794000000000002E-2</c:v>
                </c:pt>
                <c:pt idx="501">
                  <c:v>-0.12676000000000001</c:v>
                </c:pt>
                <c:pt idx="502">
                  <c:v>-0.18571399999999999</c:v>
                </c:pt>
                <c:pt idx="503">
                  <c:v>-0.14285700000000001</c:v>
                </c:pt>
                <c:pt idx="504">
                  <c:v>-0.23943600000000001</c:v>
                </c:pt>
                <c:pt idx="505">
                  <c:v>-0.18840499999999999</c:v>
                </c:pt>
                <c:pt idx="506">
                  <c:v>-0.115942</c:v>
                </c:pt>
                <c:pt idx="507">
                  <c:v>-1.6129000000000001E-2</c:v>
                </c:pt>
                <c:pt idx="508">
                  <c:v>0.245614</c:v>
                </c:pt>
                <c:pt idx="509">
                  <c:v>0.316666</c:v>
                </c:pt>
                <c:pt idx="510">
                  <c:v>0.55555500000000002</c:v>
                </c:pt>
                <c:pt idx="511">
                  <c:v>0.60714299999999999</c:v>
                </c:pt>
                <c:pt idx="512">
                  <c:v>0.55737700000000001</c:v>
                </c:pt>
                <c:pt idx="513">
                  <c:v>0.65573700000000001</c:v>
                </c:pt>
                <c:pt idx="514">
                  <c:v>0.54929499999999998</c:v>
                </c:pt>
                <c:pt idx="515">
                  <c:v>0.43037900000000001</c:v>
                </c:pt>
                <c:pt idx="516">
                  <c:v>0.39285700000000001</c:v>
                </c:pt>
                <c:pt idx="517">
                  <c:v>0.37777699999999997</c:v>
                </c:pt>
                <c:pt idx="518">
                  <c:v>0.43157800000000002</c:v>
                </c:pt>
                <c:pt idx="519">
                  <c:v>0.435643</c:v>
                </c:pt>
                <c:pt idx="520">
                  <c:v>0.37272699999999997</c:v>
                </c:pt>
                <c:pt idx="521">
                  <c:v>0.265486</c:v>
                </c:pt>
                <c:pt idx="522">
                  <c:v>0.29914499999999999</c:v>
                </c:pt>
                <c:pt idx="523">
                  <c:v>0.193548</c:v>
                </c:pt>
                <c:pt idx="524">
                  <c:v>6.6175999999999999E-2</c:v>
                </c:pt>
                <c:pt idx="525">
                  <c:v>-0.103448</c:v>
                </c:pt>
                <c:pt idx="526">
                  <c:v>-9.2715000000000006E-2</c:v>
                </c:pt>
                <c:pt idx="527">
                  <c:v>-2.7970999999999999E-2</c:v>
                </c:pt>
                <c:pt idx="528">
                  <c:v>-2.6315000000000002E-2</c:v>
                </c:pt>
                <c:pt idx="529">
                  <c:v>-8.7836999999999998E-2</c:v>
                </c:pt>
                <c:pt idx="530">
                  <c:v>-6.2067999999999998E-2</c:v>
                </c:pt>
                <c:pt idx="531">
                  <c:v>5.3845999999999998E-2</c:v>
                </c:pt>
                <c:pt idx="532">
                  <c:v>5.8394000000000001E-2</c:v>
                </c:pt>
                <c:pt idx="533">
                  <c:v>3.5971000000000003E-2</c:v>
                </c:pt>
                <c:pt idx="534">
                  <c:v>-6.7567000000000002E-2</c:v>
                </c:pt>
                <c:pt idx="535">
                  <c:v>-6.6666000000000003E-2</c:v>
                </c:pt>
                <c:pt idx="536">
                  <c:v>-8.8234999999999994E-2</c:v>
                </c:pt>
                <c:pt idx="537">
                  <c:v>-1.4492E-2</c:v>
                </c:pt>
                <c:pt idx="538">
                  <c:v>-8.9040999999999995E-2</c:v>
                </c:pt>
                <c:pt idx="539">
                  <c:v>-2.0688999999999999E-2</c:v>
                </c:pt>
                <c:pt idx="540">
                  <c:v>-3.5459999999999998E-2</c:v>
                </c:pt>
                <c:pt idx="541">
                  <c:v>6.0150000000000002E-2</c:v>
                </c:pt>
                <c:pt idx="542">
                  <c:v>0</c:v>
                </c:pt>
                <c:pt idx="543">
                  <c:v>-5.6737000000000003E-2</c:v>
                </c:pt>
                <c:pt idx="544">
                  <c:v>-7.9135999999999998E-2</c:v>
                </c:pt>
                <c:pt idx="545">
                  <c:v>-0.17999899999999999</c:v>
                </c:pt>
                <c:pt idx="546">
                  <c:v>-0.16911699999999999</c:v>
                </c:pt>
                <c:pt idx="547">
                  <c:v>-0.27659499999999998</c:v>
                </c:pt>
                <c:pt idx="548">
                  <c:v>-0.34782600000000002</c:v>
                </c:pt>
                <c:pt idx="549">
                  <c:v>-0.368421</c:v>
                </c:pt>
                <c:pt idx="550">
                  <c:v>-0.398436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B92-4723-A6DD-F9006463A5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  <c:max val="2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PROC_JIP_v_den_pozitivity_7dni_z_POZ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53</c:f>
              <c:numCache>
                <c:formatCode>m/d/yyyy</c:formatCode>
                <c:ptCount val="55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</c:numCache>
            </c:numRef>
          </c:cat>
          <c:val>
            <c:numRef>
              <c:f>Sheet1!$B$2:$B$553</c:f>
              <c:numCache>
                <c:formatCode>0.0%</c:formatCode>
                <c:ptCount val="552"/>
                <c:pt idx="0">
                  <c:v>3.1019775099999998E-3</c:v>
                </c:pt>
                <c:pt idx="1">
                  <c:v>3.1824611030000002E-3</c:v>
                </c:pt>
                <c:pt idx="2">
                  <c:v>3.4887408810000001E-3</c:v>
                </c:pt>
                <c:pt idx="3">
                  <c:v>4.0404040399999999E-3</c:v>
                </c:pt>
                <c:pt idx="4">
                  <c:v>4.1107152639999998E-3</c:v>
                </c:pt>
                <c:pt idx="5">
                  <c:v>4.4926004220000003E-3</c:v>
                </c:pt>
                <c:pt idx="6">
                  <c:v>4.4020542920000004E-3</c:v>
                </c:pt>
                <c:pt idx="7">
                  <c:v>2.9455080999999999E-3</c:v>
                </c:pt>
                <c:pt idx="8">
                  <c:v>2.8484618300000002E-3</c:v>
                </c:pt>
                <c:pt idx="9">
                  <c:v>3.0130565779999999E-3</c:v>
                </c:pt>
                <c:pt idx="10">
                  <c:v>2.870524248E-3</c:v>
                </c:pt>
                <c:pt idx="11">
                  <c:v>2.2216414E-3</c:v>
                </c:pt>
                <c:pt idx="12">
                  <c:v>2.240756877E-3</c:v>
                </c:pt>
                <c:pt idx="13">
                  <c:v>2E-3</c:v>
                </c:pt>
                <c:pt idx="14">
                  <c:v>2.995008319E-3</c:v>
                </c:pt>
                <c:pt idx="15">
                  <c:v>2.6026026020000001E-3</c:v>
                </c:pt>
                <c:pt idx="16">
                  <c:v>2.4718718029999999E-3</c:v>
                </c:pt>
                <c:pt idx="17">
                  <c:v>2.3390869489999999E-3</c:v>
                </c:pt>
                <c:pt idx="18">
                  <c:v>2.4019835730000002E-3</c:v>
                </c:pt>
                <c:pt idx="19">
                  <c:v>2.824643102E-3</c:v>
                </c:pt>
                <c:pt idx="20">
                  <c:v>3.1739002059999999E-3</c:v>
                </c:pt>
                <c:pt idx="21">
                  <c:v>2.8052458089999999E-3</c:v>
                </c:pt>
                <c:pt idx="22">
                  <c:v>3.4647633559999999E-3</c:v>
                </c:pt>
                <c:pt idx="23">
                  <c:v>4.0106951869999996E-3</c:v>
                </c:pt>
                <c:pt idx="24">
                  <c:v>4.119875074E-3</c:v>
                </c:pt>
                <c:pt idx="25">
                  <c:v>4.270937604E-3</c:v>
                </c:pt>
                <c:pt idx="26">
                  <c:v>4.0506990720000002E-3</c:v>
                </c:pt>
                <c:pt idx="27">
                  <c:v>4.3009329710000004E-3</c:v>
                </c:pt>
                <c:pt idx="28">
                  <c:v>4.6977124179999998E-3</c:v>
                </c:pt>
                <c:pt idx="29">
                  <c:v>4.4421217659999998E-3</c:v>
                </c:pt>
                <c:pt idx="30">
                  <c:v>4.1496384779999996E-3</c:v>
                </c:pt>
                <c:pt idx="31">
                  <c:v>4.4762757379999997E-3</c:v>
                </c:pt>
                <c:pt idx="32">
                  <c:v>4.5590951060000004E-3</c:v>
                </c:pt>
                <c:pt idx="33">
                  <c:v>4.590237348E-3</c:v>
                </c:pt>
                <c:pt idx="34">
                  <c:v>5.483068487E-3</c:v>
                </c:pt>
                <c:pt idx="35">
                  <c:v>5.3620510969999997E-3</c:v>
                </c:pt>
                <c:pt idx="36">
                  <c:v>5.5275564940000001E-3</c:v>
                </c:pt>
                <c:pt idx="37">
                  <c:v>5.4727307029999997E-3</c:v>
                </c:pt>
                <c:pt idx="38">
                  <c:v>5.1088830700000004E-3</c:v>
                </c:pt>
                <c:pt idx="39">
                  <c:v>5.1495464199999997E-3</c:v>
                </c:pt>
                <c:pt idx="40">
                  <c:v>5.2504038770000002E-3</c:v>
                </c:pt>
                <c:pt idx="41">
                  <c:v>4.8251241139999996E-3</c:v>
                </c:pt>
                <c:pt idx="42">
                  <c:v>4.4310171189999997E-3</c:v>
                </c:pt>
                <c:pt idx="43">
                  <c:v>4.0976142769999996E-3</c:v>
                </c:pt>
                <c:pt idx="44">
                  <c:v>3.9164490860000003E-3</c:v>
                </c:pt>
                <c:pt idx="45">
                  <c:v>3.9413526720000003E-3</c:v>
                </c:pt>
                <c:pt idx="46">
                  <c:v>3.520612914E-3</c:v>
                </c:pt>
                <c:pt idx="47">
                  <c:v>3.628357551E-3</c:v>
                </c:pt>
                <c:pt idx="48">
                  <c:v>3.7822482069999998E-3</c:v>
                </c:pt>
                <c:pt idx="49">
                  <c:v>3.7223355700000001E-3</c:v>
                </c:pt>
                <c:pt idx="50">
                  <c:v>3.676364994E-3</c:v>
                </c:pt>
                <c:pt idx="51">
                  <c:v>3.6858022350000001E-3</c:v>
                </c:pt>
                <c:pt idx="52">
                  <c:v>3.4265841550000001E-3</c:v>
                </c:pt>
                <c:pt idx="53">
                  <c:v>3.623188405E-3</c:v>
                </c:pt>
                <c:pt idx="54">
                  <c:v>3.6455179119999999E-3</c:v>
                </c:pt>
                <c:pt idx="55">
                  <c:v>3.7727551519999999E-3</c:v>
                </c:pt>
                <c:pt idx="56">
                  <c:v>3.9293603129999998E-3</c:v>
                </c:pt>
                <c:pt idx="57">
                  <c:v>3.8707333960000001E-3</c:v>
                </c:pt>
                <c:pt idx="58">
                  <c:v>4.0234972230000004E-3</c:v>
                </c:pt>
                <c:pt idx="59">
                  <c:v>4.2181238719999998E-3</c:v>
                </c:pt>
                <c:pt idx="60">
                  <c:v>4.2704119759999996E-3</c:v>
                </c:pt>
                <c:pt idx="61">
                  <c:v>4.1650708539999999E-3</c:v>
                </c:pt>
                <c:pt idx="62">
                  <c:v>4.2899211090000004E-3</c:v>
                </c:pt>
                <c:pt idx="63">
                  <c:v>4.2436218989999998E-3</c:v>
                </c:pt>
                <c:pt idx="64">
                  <c:v>4.0640951869999999E-3</c:v>
                </c:pt>
                <c:pt idx="65">
                  <c:v>4.0181733789999997E-3</c:v>
                </c:pt>
                <c:pt idx="66">
                  <c:v>4.1594106659999996E-3</c:v>
                </c:pt>
                <c:pt idx="67">
                  <c:v>4.230607525E-3</c:v>
                </c:pt>
                <c:pt idx="68">
                  <c:v>4.2639260910000004E-3</c:v>
                </c:pt>
                <c:pt idx="69">
                  <c:v>3.9154603520000003E-3</c:v>
                </c:pt>
                <c:pt idx="70">
                  <c:v>4.0629761299999997E-3</c:v>
                </c:pt>
                <c:pt idx="71">
                  <c:v>4.5893679640000001E-3</c:v>
                </c:pt>
                <c:pt idx="72">
                  <c:v>4.5640426459999999E-3</c:v>
                </c:pt>
                <c:pt idx="73">
                  <c:v>4.4279275709999998E-3</c:v>
                </c:pt>
                <c:pt idx="74">
                  <c:v>4.5683445590000002E-3</c:v>
                </c:pt>
                <c:pt idx="75">
                  <c:v>4.5872571280000003E-3</c:v>
                </c:pt>
                <c:pt idx="76">
                  <c:v>4.6737331720000004E-3</c:v>
                </c:pt>
                <c:pt idx="77">
                  <c:v>4.5856616629999999E-3</c:v>
                </c:pt>
                <c:pt idx="78">
                  <c:v>4.7120705710000004E-3</c:v>
                </c:pt>
                <c:pt idx="79">
                  <c:v>4.9860390899999999E-3</c:v>
                </c:pt>
                <c:pt idx="80">
                  <c:v>4.9479865269999998E-3</c:v>
                </c:pt>
                <c:pt idx="81">
                  <c:v>5.1622418870000001E-3</c:v>
                </c:pt>
                <c:pt idx="82">
                  <c:v>5.2237181670000002E-3</c:v>
                </c:pt>
                <c:pt idx="83">
                  <c:v>4.7883793420000001E-3</c:v>
                </c:pt>
                <c:pt idx="84">
                  <c:v>4.7048759620000003E-3</c:v>
                </c:pt>
                <c:pt idx="85">
                  <c:v>4.7593865669999999E-3</c:v>
                </c:pt>
                <c:pt idx="86">
                  <c:v>4.7769629279999998E-3</c:v>
                </c:pt>
                <c:pt idx="87">
                  <c:v>5.1092318530000002E-3</c:v>
                </c:pt>
                <c:pt idx="88">
                  <c:v>4.7025882179999997E-3</c:v>
                </c:pt>
                <c:pt idx="89">
                  <c:v>4.6676147750000004E-3</c:v>
                </c:pt>
                <c:pt idx="90">
                  <c:v>4.959236578E-3</c:v>
                </c:pt>
                <c:pt idx="91">
                  <c:v>4.8964799320000002E-3</c:v>
                </c:pt>
                <c:pt idx="92">
                  <c:v>4.8496225890000003E-3</c:v>
                </c:pt>
                <c:pt idx="93">
                  <c:v>5.0489596079999997E-3</c:v>
                </c:pt>
                <c:pt idx="94">
                  <c:v>5.1082185559999998E-3</c:v>
                </c:pt>
                <c:pt idx="95">
                  <c:v>5.0603922720000001E-3</c:v>
                </c:pt>
                <c:pt idx="96">
                  <c:v>5.2008409869999999E-3</c:v>
                </c:pt>
                <c:pt idx="97">
                  <c:v>5.0739501240000002E-3</c:v>
                </c:pt>
                <c:pt idx="98">
                  <c:v>5.2699996480000001E-3</c:v>
                </c:pt>
                <c:pt idx="99">
                  <c:v>4.8154622509999998E-3</c:v>
                </c:pt>
                <c:pt idx="100">
                  <c:v>4.5611478879999997E-3</c:v>
                </c:pt>
                <c:pt idx="101">
                  <c:v>4.0564267110000003E-3</c:v>
                </c:pt>
                <c:pt idx="102">
                  <c:v>4.1347075739999999E-3</c:v>
                </c:pt>
                <c:pt idx="103">
                  <c:v>4.0861595929999996E-3</c:v>
                </c:pt>
                <c:pt idx="104">
                  <c:v>4.2909917590000001E-3</c:v>
                </c:pt>
                <c:pt idx="105">
                  <c:v>3.9464146679999996E-3</c:v>
                </c:pt>
                <c:pt idx="106">
                  <c:v>3.7089141829999999E-3</c:v>
                </c:pt>
                <c:pt idx="107">
                  <c:v>3.5018121259999999E-3</c:v>
                </c:pt>
                <c:pt idx="108">
                  <c:v>3.4497033250000001E-3</c:v>
                </c:pt>
                <c:pt idx="109">
                  <c:v>3.2311607830000002E-3</c:v>
                </c:pt>
                <c:pt idx="110">
                  <c:v>3.1755567949999998E-3</c:v>
                </c:pt>
                <c:pt idx="111">
                  <c:v>2.8136512690000001E-3</c:v>
                </c:pt>
                <c:pt idx="112">
                  <c:v>2.631578947E-3</c:v>
                </c:pt>
                <c:pt idx="113">
                  <c:v>2.7247489460000001E-3</c:v>
                </c:pt>
                <c:pt idx="114">
                  <c:v>2.7395769069999999E-3</c:v>
                </c:pt>
                <c:pt idx="115">
                  <c:v>3.1465816679999998E-3</c:v>
                </c:pt>
                <c:pt idx="116">
                  <c:v>3.431267424E-3</c:v>
                </c:pt>
                <c:pt idx="117">
                  <c:v>3.7226122100000002E-3</c:v>
                </c:pt>
                <c:pt idx="118">
                  <c:v>4.0565924620000002E-3</c:v>
                </c:pt>
                <c:pt idx="119">
                  <c:v>4.1520625500000002E-3</c:v>
                </c:pt>
                <c:pt idx="120">
                  <c:v>3.9944010099999998E-3</c:v>
                </c:pt>
                <c:pt idx="121">
                  <c:v>3.7016198279999999E-3</c:v>
                </c:pt>
                <c:pt idx="122">
                  <c:v>3.6008606929999998E-3</c:v>
                </c:pt>
                <c:pt idx="123">
                  <c:v>3.6002959919999998E-3</c:v>
                </c:pt>
                <c:pt idx="124">
                  <c:v>3.4355760770000002E-3</c:v>
                </c:pt>
                <c:pt idx="125">
                  <c:v>3.156557212E-3</c:v>
                </c:pt>
                <c:pt idx="126">
                  <c:v>3.1445709900000001E-3</c:v>
                </c:pt>
                <c:pt idx="127">
                  <c:v>3.1137975239999998E-3</c:v>
                </c:pt>
                <c:pt idx="128">
                  <c:v>3.022270032E-3</c:v>
                </c:pt>
                <c:pt idx="129">
                  <c:v>2.8930702989999999E-3</c:v>
                </c:pt>
                <c:pt idx="130">
                  <c:v>2.8593652419999999E-3</c:v>
                </c:pt>
                <c:pt idx="131">
                  <c:v>2.8324806029999998E-3</c:v>
                </c:pt>
                <c:pt idx="132">
                  <c:v>2.8567430789999998E-3</c:v>
                </c:pt>
                <c:pt idx="133">
                  <c:v>2.8055453749999998E-3</c:v>
                </c:pt>
                <c:pt idx="134">
                  <c:v>2.9496891050000001E-3</c:v>
                </c:pt>
                <c:pt idx="135">
                  <c:v>3.3972485339999999E-3</c:v>
                </c:pt>
                <c:pt idx="136">
                  <c:v>3.4780912750000002E-3</c:v>
                </c:pt>
                <c:pt idx="137">
                  <c:v>3.3276157799999998E-3</c:v>
                </c:pt>
                <c:pt idx="138">
                  <c:v>3.285290377E-3</c:v>
                </c:pt>
                <c:pt idx="139">
                  <c:v>3.4627300889999999E-3</c:v>
                </c:pt>
                <c:pt idx="140">
                  <c:v>3.5958489370000002E-3</c:v>
                </c:pt>
                <c:pt idx="141">
                  <c:v>3.767365198E-3</c:v>
                </c:pt>
                <c:pt idx="142">
                  <c:v>3.331548575E-3</c:v>
                </c:pt>
                <c:pt idx="143">
                  <c:v>3.3283576059999999E-3</c:v>
                </c:pt>
                <c:pt idx="144">
                  <c:v>3.562162829E-3</c:v>
                </c:pt>
                <c:pt idx="145">
                  <c:v>3.55923435E-3</c:v>
                </c:pt>
                <c:pt idx="146">
                  <c:v>3.6316308749999998E-3</c:v>
                </c:pt>
                <c:pt idx="147">
                  <c:v>3.6851914599999999E-3</c:v>
                </c:pt>
                <c:pt idx="148">
                  <c:v>3.3670033670000002E-3</c:v>
                </c:pt>
                <c:pt idx="149">
                  <c:v>3.4394346820000002E-3</c:v>
                </c:pt>
                <c:pt idx="150">
                  <c:v>3.5754847930000002E-3</c:v>
                </c:pt>
                <c:pt idx="151">
                  <c:v>3.6102607410000002E-3</c:v>
                </c:pt>
                <c:pt idx="152">
                  <c:v>3.660152716E-3</c:v>
                </c:pt>
                <c:pt idx="153">
                  <c:v>3.7248624099999999E-3</c:v>
                </c:pt>
                <c:pt idx="154">
                  <c:v>3.4978949790000001E-3</c:v>
                </c:pt>
                <c:pt idx="155">
                  <c:v>3.5595196690000001E-3</c:v>
                </c:pt>
                <c:pt idx="156">
                  <c:v>3.8601364320000001E-3</c:v>
                </c:pt>
                <c:pt idx="157">
                  <c:v>3.855781653E-3</c:v>
                </c:pt>
                <c:pt idx="158">
                  <c:v>3.7975941940000001E-3</c:v>
                </c:pt>
                <c:pt idx="159">
                  <c:v>3.7075426559999998E-3</c:v>
                </c:pt>
                <c:pt idx="160">
                  <c:v>3.4496353239999999E-3</c:v>
                </c:pt>
                <c:pt idx="161">
                  <c:v>3.7400474249999999E-3</c:v>
                </c:pt>
                <c:pt idx="162">
                  <c:v>3.9027029109999999E-3</c:v>
                </c:pt>
                <c:pt idx="163">
                  <c:v>3.644231864E-3</c:v>
                </c:pt>
                <c:pt idx="164">
                  <c:v>3.44097406E-3</c:v>
                </c:pt>
                <c:pt idx="165">
                  <c:v>3.1569452790000002E-3</c:v>
                </c:pt>
                <c:pt idx="166">
                  <c:v>3.355517029E-3</c:v>
                </c:pt>
                <c:pt idx="167">
                  <c:v>3.2878513889999998E-3</c:v>
                </c:pt>
                <c:pt idx="168">
                  <c:v>3.207094162E-3</c:v>
                </c:pt>
                <c:pt idx="169">
                  <c:v>3.2680297709999999E-3</c:v>
                </c:pt>
                <c:pt idx="170">
                  <c:v>3.2720907019999999E-3</c:v>
                </c:pt>
                <c:pt idx="171">
                  <c:v>3.0985073680000002E-3</c:v>
                </c:pt>
                <c:pt idx="172">
                  <c:v>3.4196160209999998E-3</c:v>
                </c:pt>
                <c:pt idx="173">
                  <c:v>3.4487951799999999E-3</c:v>
                </c:pt>
                <c:pt idx="174">
                  <c:v>3.496351318E-3</c:v>
                </c:pt>
                <c:pt idx="175">
                  <c:v>3.2422546130000001E-3</c:v>
                </c:pt>
                <c:pt idx="176">
                  <c:v>3.0916844339999999E-3</c:v>
                </c:pt>
                <c:pt idx="177">
                  <c:v>3.0668942240000001E-3</c:v>
                </c:pt>
                <c:pt idx="178">
                  <c:v>3.0445884890000002E-3</c:v>
                </c:pt>
                <c:pt idx="179">
                  <c:v>2.8591851320000001E-3</c:v>
                </c:pt>
                <c:pt idx="180">
                  <c:v>2.8771262440000001E-3</c:v>
                </c:pt>
                <c:pt idx="181">
                  <c:v>2.8457801479999999E-3</c:v>
                </c:pt>
                <c:pt idx="182">
                  <c:v>2.8727512470000001E-3</c:v>
                </c:pt>
                <c:pt idx="183">
                  <c:v>2.7901268869999999E-3</c:v>
                </c:pt>
                <c:pt idx="184">
                  <c:v>2.6955737059999999E-3</c:v>
                </c:pt>
                <c:pt idx="185">
                  <c:v>2.8892531569999999E-3</c:v>
                </c:pt>
                <c:pt idx="186">
                  <c:v>2.9279514790000001E-3</c:v>
                </c:pt>
                <c:pt idx="187">
                  <c:v>2.7495027490000001E-3</c:v>
                </c:pt>
                <c:pt idx="188">
                  <c:v>2.9831867590000001E-3</c:v>
                </c:pt>
                <c:pt idx="189">
                  <c:v>2.9010135340000001E-3</c:v>
                </c:pt>
                <c:pt idx="190">
                  <c:v>2.9005727710000001E-3</c:v>
                </c:pt>
                <c:pt idx="191">
                  <c:v>3.1793863400000001E-3</c:v>
                </c:pt>
                <c:pt idx="192">
                  <c:v>3.2825351649999998E-3</c:v>
                </c:pt>
                <c:pt idx="193">
                  <c:v>3.2293201760000001E-3</c:v>
                </c:pt>
                <c:pt idx="194">
                  <c:v>3.2952974160000001E-3</c:v>
                </c:pt>
                <c:pt idx="195">
                  <c:v>3.2064957389999998E-3</c:v>
                </c:pt>
                <c:pt idx="196">
                  <c:v>3.1833309210000001E-3</c:v>
                </c:pt>
                <c:pt idx="197">
                  <c:v>3.3463469039999999E-3</c:v>
                </c:pt>
                <c:pt idx="198">
                  <c:v>3.125342691E-3</c:v>
                </c:pt>
                <c:pt idx="199">
                  <c:v>2.9833111799999999E-3</c:v>
                </c:pt>
                <c:pt idx="200">
                  <c:v>3.0374467310000002E-3</c:v>
                </c:pt>
                <c:pt idx="201">
                  <c:v>2.959169592E-3</c:v>
                </c:pt>
                <c:pt idx="202">
                  <c:v>3.0242256389999998E-3</c:v>
                </c:pt>
                <c:pt idx="203">
                  <c:v>3.4477564470000001E-3</c:v>
                </c:pt>
                <c:pt idx="204">
                  <c:v>3.4130296380000002E-3</c:v>
                </c:pt>
                <c:pt idx="205">
                  <c:v>3.700535554E-3</c:v>
                </c:pt>
                <c:pt idx="206">
                  <c:v>3.7470545059999998E-3</c:v>
                </c:pt>
                <c:pt idx="207">
                  <c:v>3.8017515920000002E-3</c:v>
                </c:pt>
                <c:pt idx="208">
                  <c:v>3.9728154549999997E-3</c:v>
                </c:pt>
                <c:pt idx="209">
                  <c:v>3.9148266290000002E-3</c:v>
                </c:pt>
                <c:pt idx="210">
                  <c:v>3.6577400389999999E-3</c:v>
                </c:pt>
                <c:pt idx="211">
                  <c:v>3.7448114049999999E-3</c:v>
                </c:pt>
                <c:pt idx="212">
                  <c:v>3.7763287509999998E-3</c:v>
                </c:pt>
                <c:pt idx="213">
                  <c:v>4.0529726100000003E-3</c:v>
                </c:pt>
                <c:pt idx="214">
                  <c:v>4.2798710619999999E-3</c:v>
                </c:pt>
                <c:pt idx="215">
                  <c:v>4.2853677600000004E-3</c:v>
                </c:pt>
                <c:pt idx="216">
                  <c:v>4.2429231840000001E-3</c:v>
                </c:pt>
                <c:pt idx="217">
                  <c:v>4.9425126190000002E-3</c:v>
                </c:pt>
                <c:pt idx="218">
                  <c:v>5.0155411130000001E-3</c:v>
                </c:pt>
                <c:pt idx="219">
                  <c:v>4.9711236200000002E-3</c:v>
                </c:pt>
                <c:pt idx="220">
                  <c:v>4.7261312729999999E-3</c:v>
                </c:pt>
                <c:pt idx="221">
                  <c:v>4.9274954239999997E-3</c:v>
                </c:pt>
                <c:pt idx="222">
                  <c:v>4.9879851450000002E-3</c:v>
                </c:pt>
                <c:pt idx="223">
                  <c:v>5.2151238589999999E-3</c:v>
                </c:pt>
                <c:pt idx="224">
                  <c:v>4.7951028730000003E-3</c:v>
                </c:pt>
                <c:pt idx="225">
                  <c:v>5.1405992249999996E-3</c:v>
                </c:pt>
                <c:pt idx="226">
                  <c:v>5.2395209579999998E-3</c:v>
                </c:pt>
                <c:pt idx="227">
                  <c:v>5.4842161580000003E-3</c:v>
                </c:pt>
                <c:pt idx="228">
                  <c:v>5.3785684729999996E-3</c:v>
                </c:pt>
                <c:pt idx="229">
                  <c:v>5.1367485760000003E-3</c:v>
                </c:pt>
                <c:pt idx="230">
                  <c:v>4.744733345E-3</c:v>
                </c:pt>
                <c:pt idx="231">
                  <c:v>5.2517295350000001E-3</c:v>
                </c:pt>
                <c:pt idx="232">
                  <c:v>5.2509976889999997E-3</c:v>
                </c:pt>
                <c:pt idx="233">
                  <c:v>5.3813121700000003E-3</c:v>
                </c:pt>
                <c:pt idx="234">
                  <c:v>5.5108811779999997E-3</c:v>
                </c:pt>
                <c:pt idx="235">
                  <c:v>5.240373661E-3</c:v>
                </c:pt>
                <c:pt idx="236">
                  <c:v>5.2439580479999998E-3</c:v>
                </c:pt>
                <c:pt idx="237">
                  <c:v>5.0601262050000003E-3</c:v>
                </c:pt>
                <c:pt idx="238">
                  <c:v>4.7431316980000001E-3</c:v>
                </c:pt>
                <c:pt idx="239">
                  <c:v>5.264827148E-3</c:v>
                </c:pt>
                <c:pt idx="240">
                  <c:v>5.2720645660000003E-3</c:v>
                </c:pt>
                <c:pt idx="241">
                  <c:v>4.888501975E-3</c:v>
                </c:pt>
                <c:pt idx="242">
                  <c:v>4.4618712810000002E-3</c:v>
                </c:pt>
                <c:pt idx="243">
                  <c:v>4.3523316060000003E-3</c:v>
                </c:pt>
                <c:pt idx="244">
                  <c:v>4.1855845620000004E-3</c:v>
                </c:pt>
                <c:pt idx="245">
                  <c:v>4.8243630330000002E-3</c:v>
                </c:pt>
                <c:pt idx="246">
                  <c:v>4.2674253199999996E-3</c:v>
                </c:pt>
                <c:pt idx="247">
                  <c:v>4.1673612259999996E-3</c:v>
                </c:pt>
                <c:pt idx="248">
                  <c:v>4.5363342920000001E-3</c:v>
                </c:pt>
                <c:pt idx="249">
                  <c:v>4.9927378350000003E-3</c:v>
                </c:pt>
                <c:pt idx="250">
                  <c:v>5.142332415E-3</c:v>
                </c:pt>
                <c:pt idx="251">
                  <c:v>5.1854026019999997E-3</c:v>
                </c:pt>
                <c:pt idx="252">
                  <c:v>4.9499736699999998E-3</c:v>
                </c:pt>
                <c:pt idx="253">
                  <c:v>5.5173966890000002E-3</c:v>
                </c:pt>
                <c:pt idx="254">
                  <c:v>5.6258790429999997E-3</c:v>
                </c:pt>
                <c:pt idx="255">
                  <c:v>5.5408638709999996E-3</c:v>
                </c:pt>
                <c:pt idx="256">
                  <c:v>5.2503521569999996E-3</c:v>
                </c:pt>
                <c:pt idx="257">
                  <c:v>4.5578851410000001E-3</c:v>
                </c:pt>
                <c:pt idx="258">
                  <c:v>4.4046799720000003E-3</c:v>
                </c:pt>
                <c:pt idx="259">
                  <c:v>4.5756457560000002E-3</c:v>
                </c:pt>
                <c:pt idx="260">
                  <c:v>4.453634483E-3</c:v>
                </c:pt>
                <c:pt idx="261">
                  <c:v>4.1790005220000001E-3</c:v>
                </c:pt>
                <c:pt idx="262">
                  <c:v>4.4742729300000002E-3</c:v>
                </c:pt>
                <c:pt idx="263">
                  <c:v>5.0970397959999997E-3</c:v>
                </c:pt>
                <c:pt idx="264">
                  <c:v>5.157706804E-3</c:v>
                </c:pt>
                <c:pt idx="265">
                  <c:v>5.2162573350000001E-3</c:v>
                </c:pt>
                <c:pt idx="266">
                  <c:v>4.9285362239999998E-3</c:v>
                </c:pt>
                <c:pt idx="267">
                  <c:v>4.9751243780000003E-3</c:v>
                </c:pt>
                <c:pt idx="268">
                  <c:v>5.211190345E-3</c:v>
                </c:pt>
                <c:pt idx="269">
                  <c:v>4.671532846E-3</c:v>
                </c:pt>
                <c:pt idx="270">
                  <c:v>3.6242826940000002E-3</c:v>
                </c:pt>
                <c:pt idx="271">
                  <c:v>4.0297582139999996E-3</c:v>
                </c:pt>
                <c:pt idx="272">
                  <c:v>4.9261083739999996E-3</c:v>
                </c:pt>
                <c:pt idx="273">
                  <c:v>4.893393918E-3</c:v>
                </c:pt>
                <c:pt idx="274">
                  <c:v>4.1167664670000003E-3</c:v>
                </c:pt>
                <c:pt idx="275">
                  <c:v>4.2438271599999997E-3</c:v>
                </c:pt>
                <c:pt idx="276">
                  <c:v>4.4642857139999999E-3</c:v>
                </c:pt>
                <c:pt idx="277">
                  <c:v>4.1753653439999998E-3</c:v>
                </c:pt>
                <c:pt idx="278">
                  <c:v>3.7799244010000002E-3</c:v>
                </c:pt>
                <c:pt idx="279">
                  <c:v>2.3169601480000001E-3</c:v>
                </c:pt>
                <c:pt idx="280">
                  <c:v>2.426006792E-3</c:v>
                </c:pt>
                <c:pt idx="281">
                  <c:v>2.5471217519999999E-3</c:v>
                </c:pt>
                <c:pt idx="282">
                  <c:v>2.3242300980000001E-3</c:v>
                </c:pt>
                <c:pt idx="283">
                  <c:v>2.5429116330000002E-3</c:v>
                </c:pt>
                <c:pt idx="284">
                  <c:v>2.6720106880000001E-3</c:v>
                </c:pt>
                <c:pt idx="285">
                  <c:v>2.0833333330000001E-3</c:v>
                </c:pt>
                <c:pt idx="286">
                  <c:v>3.0326004539999998E-3</c:v>
                </c:pt>
                <c:pt idx="287">
                  <c:v>4.374453193E-3</c:v>
                </c:pt>
                <c:pt idx="288">
                  <c:v>4.916420845E-3</c:v>
                </c:pt>
                <c:pt idx="289">
                  <c:v>4.0526849030000003E-3</c:v>
                </c:pt>
                <c:pt idx="290">
                  <c:v>5.2410901459999997E-3</c:v>
                </c:pt>
                <c:pt idx="291">
                  <c:v>6.3761955359999999E-3</c:v>
                </c:pt>
                <c:pt idx="292">
                  <c:v>7.3068893519999999E-3</c:v>
                </c:pt>
                <c:pt idx="293">
                  <c:v>6.6518847000000001E-3</c:v>
                </c:pt>
                <c:pt idx="294">
                  <c:v>6.226650062E-3</c:v>
                </c:pt>
                <c:pt idx="295">
                  <c:v>5.1150895140000003E-3</c:v>
                </c:pt>
                <c:pt idx="296">
                  <c:v>6.9832402230000003E-3</c:v>
                </c:pt>
                <c:pt idx="297">
                  <c:v>4.2857142849999997E-3</c:v>
                </c:pt>
                <c:pt idx="298">
                  <c:v>2.8449502130000002E-3</c:v>
                </c:pt>
                <c:pt idx="299">
                  <c:v>1.4224751060000001E-3</c:v>
                </c:pt>
                <c:pt idx="300">
                  <c:v>2.713704206E-3</c:v>
                </c:pt>
                <c:pt idx="301">
                  <c:v>2.538071065E-3</c:v>
                </c:pt>
                <c:pt idx="302">
                  <c:v>3.685503685E-3</c:v>
                </c:pt>
                <c:pt idx="303">
                  <c:v>3.3860045139999999E-3</c:v>
                </c:pt>
                <c:pt idx="304">
                  <c:v>4.3478260859999996E-3</c:v>
                </c:pt>
                <c:pt idx="305">
                  <c:v>4.0899795500000001E-3</c:v>
                </c:pt>
                <c:pt idx="306">
                  <c:v>3.8910505829999999E-3</c:v>
                </c:pt>
                <c:pt idx="307">
                  <c:v>2.994011976E-3</c:v>
                </c:pt>
                <c:pt idx="308">
                  <c:v>3.1578947360000002E-3</c:v>
                </c:pt>
                <c:pt idx="309">
                  <c:v>2.747252747E-3</c:v>
                </c:pt>
                <c:pt idx="310">
                  <c:v>1.6934801010000001E-3</c:v>
                </c:pt>
                <c:pt idx="311">
                  <c:v>7.6923076900000005E-4</c:v>
                </c:pt>
                <c:pt idx="312">
                  <c:v>7.4738415499999995E-4</c:v>
                </c:pt>
                <c:pt idx="313">
                  <c:v>7.2098053300000001E-4</c:v>
                </c:pt>
                <c:pt idx="314">
                  <c:v>1.3342228149999999E-3</c:v>
                </c:pt>
                <c:pt idx="315">
                  <c:v>1.168907071E-3</c:v>
                </c:pt>
                <c:pt idx="316">
                  <c:v>1.184132622E-3</c:v>
                </c:pt>
                <c:pt idx="317">
                  <c:v>1.8181818180000001E-3</c:v>
                </c:pt>
                <c:pt idx="318">
                  <c:v>1.864512119E-3</c:v>
                </c:pt>
                <c:pt idx="319">
                  <c:v>1.82592818E-3</c:v>
                </c:pt>
                <c:pt idx="320">
                  <c:v>2.496878901E-3</c:v>
                </c:pt>
                <c:pt idx="321">
                  <c:v>2.5284450059999998E-3</c:v>
                </c:pt>
                <c:pt idx="322">
                  <c:v>2.5657472729999999E-3</c:v>
                </c:pt>
                <c:pt idx="323">
                  <c:v>1.9556714469999999E-3</c:v>
                </c:pt>
                <c:pt idx="324">
                  <c:v>1.965923984E-3</c:v>
                </c:pt>
                <c:pt idx="325">
                  <c:v>2.721088435E-3</c:v>
                </c:pt>
                <c:pt idx="326">
                  <c:v>2.8571428570000001E-3</c:v>
                </c:pt>
                <c:pt idx="327">
                  <c:v>2.1994134890000001E-3</c:v>
                </c:pt>
                <c:pt idx="328">
                  <c:v>2.2354694479999999E-3</c:v>
                </c:pt>
                <c:pt idx="329">
                  <c:v>2.3112480729999998E-3</c:v>
                </c:pt>
                <c:pt idx="330">
                  <c:v>2.369668246E-3</c:v>
                </c:pt>
                <c:pt idx="331">
                  <c:v>2.3790642340000001E-3</c:v>
                </c:pt>
                <c:pt idx="332">
                  <c:v>3.3003300330000001E-3</c:v>
                </c:pt>
                <c:pt idx="333">
                  <c:v>4.1597337769999996E-3</c:v>
                </c:pt>
                <c:pt idx="334">
                  <c:v>4.1736227039999999E-3</c:v>
                </c:pt>
                <c:pt idx="335">
                  <c:v>3.4752389220000001E-3</c:v>
                </c:pt>
                <c:pt idx="336">
                  <c:v>5.2770448539999999E-3</c:v>
                </c:pt>
                <c:pt idx="337">
                  <c:v>6.1135371169999996E-3</c:v>
                </c:pt>
                <c:pt idx="338">
                  <c:v>5.439709882E-3</c:v>
                </c:pt>
                <c:pt idx="339">
                  <c:v>4.3782837119999999E-3</c:v>
                </c:pt>
                <c:pt idx="340">
                  <c:v>3.3869602030000001E-3</c:v>
                </c:pt>
                <c:pt idx="341">
                  <c:v>3.3030553260000001E-3</c:v>
                </c:pt>
                <c:pt idx="342">
                  <c:v>4.0518638569999998E-3</c:v>
                </c:pt>
                <c:pt idx="343">
                  <c:v>2.3942537900000001E-3</c:v>
                </c:pt>
                <c:pt idx="344">
                  <c:v>3.1645569619999999E-3</c:v>
                </c:pt>
                <c:pt idx="345">
                  <c:v>3.1031807600000001E-3</c:v>
                </c:pt>
                <c:pt idx="346">
                  <c:v>3.0007501870000001E-3</c:v>
                </c:pt>
                <c:pt idx="347">
                  <c:v>3.0326004539999998E-3</c:v>
                </c:pt>
                <c:pt idx="348">
                  <c:v>3.8789759499999999E-3</c:v>
                </c:pt>
                <c:pt idx="349">
                  <c:v>3.7622272379999998E-3</c:v>
                </c:pt>
                <c:pt idx="350">
                  <c:v>3.65497076E-3</c:v>
                </c:pt>
                <c:pt idx="351">
                  <c:v>2.210759027E-3</c:v>
                </c:pt>
                <c:pt idx="352">
                  <c:v>2.2505626399999998E-3</c:v>
                </c:pt>
                <c:pt idx="353">
                  <c:v>3.903200624E-3</c:v>
                </c:pt>
                <c:pt idx="354">
                  <c:v>4.7095761380000004E-3</c:v>
                </c:pt>
                <c:pt idx="355">
                  <c:v>3.834355828E-3</c:v>
                </c:pt>
                <c:pt idx="356">
                  <c:v>3.8402457749999999E-3</c:v>
                </c:pt>
                <c:pt idx="357">
                  <c:v>4.7808764939999996E-3</c:v>
                </c:pt>
                <c:pt idx="358">
                  <c:v>5.4012345670000003E-3</c:v>
                </c:pt>
                <c:pt idx="359">
                  <c:v>5.2083333329999999E-3</c:v>
                </c:pt>
                <c:pt idx="360">
                  <c:v>2.9498525069999999E-3</c:v>
                </c:pt>
                <c:pt idx="361">
                  <c:v>2.2156573109999998E-3</c:v>
                </c:pt>
                <c:pt idx="362">
                  <c:v>2.2590361440000001E-3</c:v>
                </c:pt>
                <c:pt idx="363">
                  <c:v>1.4760147600000001E-3</c:v>
                </c:pt>
                <c:pt idx="364">
                  <c:v>7.1787508899999995E-4</c:v>
                </c:pt>
                <c:pt idx="365">
                  <c:v>7.1174377199999998E-4</c:v>
                </c:pt>
                <c:pt idx="366">
                  <c:v>6.6800267200000003E-4</c:v>
                </c:pt>
                <c:pt idx="367">
                  <c:v>3.0788177329999999E-3</c:v>
                </c:pt>
                <c:pt idx="368">
                  <c:v>2.9446407530000001E-3</c:v>
                </c:pt>
                <c:pt idx="369">
                  <c:v>3.4129692829999998E-3</c:v>
                </c:pt>
                <c:pt idx="370">
                  <c:v>3.6649214650000001E-3</c:v>
                </c:pt>
                <c:pt idx="371">
                  <c:v>4.0871934600000001E-3</c:v>
                </c:pt>
                <c:pt idx="372">
                  <c:v>3.44530577E-3</c:v>
                </c:pt>
                <c:pt idx="373">
                  <c:v>3.2840722490000002E-3</c:v>
                </c:pt>
                <c:pt idx="374">
                  <c:v>2.333722287E-3</c:v>
                </c:pt>
                <c:pt idx="375">
                  <c:v>2.2944550660000001E-3</c:v>
                </c:pt>
                <c:pt idx="376">
                  <c:v>1.914975105E-3</c:v>
                </c:pt>
                <c:pt idx="377">
                  <c:v>2.9487652039999999E-3</c:v>
                </c:pt>
                <c:pt idx="378">
                  <c:v>3.3494603640000001E-3</c:v>
                </c:pt>
                <c:pt idx="379">
                  <c:v>3.1813361610000001E-3</c:v>
                </c:pt>
                <c:pt idx="380">
                  <c:v>3.7024570849999998E-3</c:v>
                </c:pt>
                <c:pt idx="381">
                  <c:v>3.3624747810000002E-3</c:v>
                </c:pt>
                <c:pt idx="382">
                  <c:v>3.3057851229999998E-3</c:v>
                </c:pt>
                <c:pt idx="383">
                  <c:v>3.5760728210000002E-3</c:v>
                </c:pt>
                <c:pt idx="384">
                  <c:v>2.6126714559999999E-3</c:v>
                </c:pt>
                <c:pt idx="385">
                  <c:v>1.6118633130000001E-3</c:v>
                </c:pt>
                <c:pt idx="386">
                  <c:v>1.9348597220000001E-3</c:v>
                </c:pt>
                <c:pt idx="387">
                  <c:v>1.9847833269999999E-3</c:v>
                </c:pt>
                <c:pt idx="388">
                  <c:v>2.252252252E-3</c:v>
                </c:pt>
                <c:pt idx="389">
                  <c:v>2.7915632750000001E-3</c:v>
                </c:pt>
                <c:pt idx="390">
                  <c:v>3.0413625300000002E-3</c:v>
                </c:pt>
                <c:pt idx="391">
                  <c:v>3.4443168770000002E-3</c:v>
                </c:pt>
                <c:pt idx="392">
                  <c:v>3.8678964589999999E-3</c:v>
                </c:pt>
                <c:pt idx="393">
                  <c:v>4.4792833140000002E-3</c:v>
                </c:pt>
                <c:pt idx="394">
                  <c:v>3.7406483789999998E-3</c:v>
                </c:pt>
                <c:pt idx="395">
                  <c:v>3.9479795629999998E-3</c:v>
                </c:pt>
                <c:pt idx="396">
                  <c:v>3.3783783779999998E-3</c:v>
                </c:pt>
                <c:pt idx="397">
                  <c:v>3.328894806E-3</c:v>
                </c:pt>
                <c:pt idx="398">
                  <c:v>3.6543422180000001E-3</c:v>
                </c:pt>
                <c:pt idx="399">
                  <c:v>5.0828313250000003E-3</c:v>
                </c:pt>
                <c:pt idx="400">
                  <c:v>5.8656238889999998E-3</c:v>
                </c:pt>
                <c:pt idx="401">
                  <c:v>6.3202247190000003E-3</c:v>
                </c:pt>
                <c:pt idx="402">
                  <c:v>5.7764186200000003E-3</c:v>
                </c:pt>
                <c:pt idx="403">
                  <c:v>5.8313895359999998E-3</c:v>
                </c:pt>
                <c:pt idx="404">
                  <c:v>5.8120225829999999E-3</c:v>
                </c:pt>
                <c:pt idx="405">
                  <c:v>6.1115355229999996E-3</c:v>
                </c:pt>
                <c:pt idx="406">
                  <c:v>4.4804162450000004E-3</c:v>
                </c:pt>
                <c:pt idx="407">
                  <c:v>3.6630036630000001E-3</c:v>
                </c:pt>
                <c:pt idx="408">
                  <c:v>3.788357115E-3</c:v>
                </c:pt>
                <c:pt idx="409">
                  <c:v>3.6857866849999998E-3</c:v>
                </c:pt>
                <c:pt idx="410">
                  <c:v>3.597906672E-3</c:v>
                </c:pt>
                <c:pt idx="411">
                  <c:v>3.6344755970000001E-3</c:v>
                </c:pt>
                <c:pt idx="412">
                  <c:v>2.956666358E-3</c:v>
                </c:pt>
                <c:pt idx="413">
                  <c:v>2.6265520530000001E-3</c:v>
                </c:pt>
                <c:pt idx="414">
                  <c:v>2.37016382E-3</c:v>
                </c:pt>
                <c:pt idx="415">
                  <c:v>1.8235973490000001E-3</c:v>
                </c:pt>
                <c:pt idx="416">
                  <c:v>1.745292997E-3</c:v>
                </c:pt>
                <c:pt idx="417">
                  <c:v>1.7555837309999999E-3</c:v>
                </c:pt>
                <c:pt idx="418">
                  <c:v>1.9489559160000001E-3</c:v>
                </c:pt>
                <c:pt idx="419">
                  <c:v>2.446561936E-3</c:v>
                </c:pt>
                <c:pt idx="420">
                  <c:v>2.2399392550000001E-3</c:v>
                </c:pt>
                <c:pt idx="421">
                  <c:v>2.1089023330000001E-3</c:v>
                </c:pt>
                <c:pt idx="422">
                  <c:v>2.2945066809999999E-3</c:v>
                </c:pt>
                <c:pt idx="423">
                  <c:v>2.2467582480000001E-3</c:v>
                </c:pt>
                <c:pt idx="424">
                  <c:v>2.1218732250000002E-3</c:v>
                </c:pt>
                <c:pt idx="425">
                  <c:v>1.9759974420000001E-3</c:v>
                </c:pt>
                <c:pt idx="426">
                  <c:v>1.9076385020000001E-3</c:v>
                </c:pt>
                <c:pt idx="427">
                  <c:v>2.150122001E-3</c:v>
                </c:pt>
                <c:pt idx="428">
                  <c:v>2.1328593639999998E-3</c:v>
                </c:pt>
                <c:pt idx="429">
                  <c:v>2.0143650679999999E-3</c:v>
                </c:pt>
                <c:pt idx="430">
                  <c:v>2.127417087E-3</c:v>
                </c:pt>
                <c:pt idx="431">
                  <c:v>2.343896493E-3</c:v>
                </c:pt>
                <c:pt idx="432">
                  <c:v>2.5210084030000001E-3</c:v>
                </c:pt>
                <c:pt idx="433">
                  <c:v>2.4990040199999999E-3</c:v>
                </c:pt>
                <c:pt idx="434">
                  <c:v>2.3553387670000002E-3</c:v>
                </c:pt>
                <c:pt idx="435">
                  <c:v>2.3924193139999998E-3</c:v>
                </c:pt>
                <c:pt idx="436">
                  <c:v>2.4729942950000002E-3</c:v>
                </c:pt>
                <c:pt idx="437">
                  <c:v>2.2421524660000002E-3</c:v>
                </c:pt>
                <c:pt idx="438">
                  <c:v>2.1115773610000002E-3</c:v>
                </c:pt>
                <c:pt idx="439">
                  <c:v>2.0638897179999999E-3</c:v>
                </c:pt>
                <c:pt idx="440">
                  <c:v>2.0425403139999999E-3</c:v>
                </c:pt>
                <c:pt idx="441">
                  <c:v>1.8333906259999999E-3</c:v>
                </c:pt>
                <c:pt idx="442">
                  <c:v>1.7406539389999999E-3</c:v>
                </c:pt>
                <c:pt idx="443">
                  <c:v>1.8249378859999999E-3</c:v>
                </c:pt>
                <c:pt idx="444">
                  <c:v>1.7858217780000001E-3</c:v>
                </c:pt>
                <c:pt idx="445">
                  <c:v>1.7253541260000001E-3</c:v>
                </c:pt>
                <c:pt idx="446">
                  <c:v>1.7955993849999999E-3</c:v>
                </c:pt>
                <c:pt idx="447">
                  <c:v>1.829047446E-3</c:v>
                </c:pt>
                <c:pt idx="448">
                  <c:v>1.9857308539999998E-3</c:v>
                </c:pt>
                <c:pt idx="449">
                  <c:v>1.895291517E-3</c:v>
                </c:pt>
                <c:pt idx="450">
                  <c:v>1.7565245039999999E-3</c:v>
                </c:pt>
                <c:pt idx="451">
                  <c:v>1.8070893499999999E-3</c:v>
                </c:pt>
                <c:pt idx="452">
                  <c:v>1.880833522E-3</c:v>
                </c:pt>
                <c:pt idx="453">
                  <c:v>1.78804652E-3</c:v>
                </c:pt>
                <c:pt idx="454">
                  <c:v>1.700434977E-3</c:v>
                </c:pt>
                <c:pt idx="455">
                  <c:v>1.572240951E-3</c:v>
                </c:pt>
                <c:pt idx="456">
                  <c:v>1.657121038E-3</c:v>
                </c:pt>
                <c:pt idx="457">
                  <c:v>1.627780792E-3</c:v>
                </c:pt>
                <c:pt idx="458">
                  <c:v>1.538590886E-3</c:v>
                </c:pt>
                <c:pt idx="459">
                  <c:v>1.507743155E-3</c:v>
                </c:pt>
                <c:pt idx="460">
                  <c:v>1.5032074249999999E-3</c:v>
                </c:pt>
                <c:pt idx="461">
                  <c:v>1.5838271670000001E-3</c:v>
                </c:pt>
                <c:pt idx="462">
                  <c:v>1.6105697040000001E-3</c:v>
                </c:pt>
                <c:pt idx="463">
                  <c:v>1.5054214220000001E-3</c:v>
                </c:pt>
                <c:pt idx="464">
                  <c:v>1.5209654650000001E-3</c:v>
                </c:pt>
                <c:pt idx="465">
                  <c:v>1.636781416E-3</c:v>
                </c:pt>
                <c:pt idx="466">
                  <c:v>1.6057722149999999E-3</c:v>
                </c:pt>
                <c:pt idx="467">
                  <c:v>1.6446106110000001E-3</c:v>
                </c:pt>
                <c:pt idx="468">
                  <c:v>1.5194616760000001E-3</c:v>
                </c:pt>
                <c:pt idx="469">
                  <c:v>1.6174543390000001E-3</c:v>
                </c:pt>
                <c:pt idx="470">
                  <c:v>1.82249407E-3</c:v>
                </c:pt>
                <c:pt idx="471">
                  <c:v>1.911183075E-3</c:v>
                </c:pt>
                <c:pt idx="472">
                  <c:v>1.919118874E-3</c:v>
                </c:pt>
                <c:pt idx="473">
                  <c:v>1.889342654E-3</c:v>
                </c:pt>
                <c:pt idx="474">
                  <c:v>1.826897781E-3</c:v>
                </c:pt>
                <c:pt idx="475">
                  <c:v>1.9964064679999999E-3</c:v>
                </c:pt>
                <c:pt idx="476">
                  <c:v>2.0744822089999999E-3</c:v>
                </c:pt>
                <c:pt idx="477">
                  <c:v>2.0236446900000001E-3</c:v>
                </c:pt>
                <c:pt idx="478">
                  <c:v>2.1035538980000001E-3</c:v>
                </c:pt>
                <c:pt idx="479">
                  <c:v>2.3267127769999998E-3</c:v>
                </c:pt>
                <c:pt idx="480">
                  <c:v>2.7134160719999999E-3</c:v>
                </c:pt>
                <c:pt idx="481">
                  <c:v>2.8288195209999999E-3</c:v>
                </c:pt>
                <c:pt idx="482">
                  <c:v>2.8266008829999998E-3</c:v>
                </c:pt>
                <c:pt idx="483">
                  <c:v>3.2366935929999999E-3</c:v>
                </c:pt>
                <c:pt idx="484">
                  <c:v>3.52478909E-3</c:v>
                </c:pt>
                <c:pt idx="485">
                  <c:v>3.5144060350000002E-3</c:v>
                </c:pt>
                <c:pt idx="486">
                  <c:v>3.3092324799999999E-3</c:v>
                </c:pt>
                <c:pt idx="487">
                  <c:v>3.3923754970000002E-3</c:v>
                </c:pt>
                <c:pt idx="488">
                  <c:v>3.400317734E-3</c:v>
                </c:pt>
                <c:pt idx="489">
                  <c:v>2.8926589000000001E-3</c:v>
                </c:pt>
                <c:pt idx="490">
                  <c:v>2.3812539579999999E-3</c:v>
                </c:pt>
                <c:pt idx="491">
                  <c:v>2.0637299459999999E-3</c:v>
                </c:pt>
                <c:pt idx="492">
                  <c:v>1.875541021E-3</c:v>
                </c:pt>
                <c:pt idx="493">
                  <c:v>1.802884615E-3</c:v>
                </c:pt>
                <c:pt idx="494">
                  <c:v>1.5823470749999999E-3</c:v>
                </c:pt>
                <c:pt idx="495">
                  <c:v>1.511699704E-3</c:v>
                </c:pt>
                <c:pt idx="496">
                  <c:v>1.556627899E-3</c:v>
                </c:pt>
                <c:pt idx="497">
                  <c:v>1.4840884510000001E-3</c:v>
                </c:pt>
                <c:pt idx="498">
                  <c:v>1.3854739880000001E-3</c:v>
                </c:pt>
                <c:pt idx="499">
                  <c:v>1.225620803E-3</c:v>
                </c:pt>
                <c:pt idx="500">
                  <c:v>1.097852028E-3</c:v>
                </c:pt>
                <c:pt idx="501">
                  <c:v>9.0935758200000002E-4</c:v>
                </c:pt>
                <c:pt idx="502">
                  <c:v>7.84454047E-4</c:v>
                </c:pt>
                <c:pt idx="503">
                  <c:v>7.0083633100000002E-4</c:v>
                </c:pt>
                <c:pt idx="504">
                  <c:v>5.3078034500000004E-4</c:v>
                </c:pt>
                <c:pt idx="505">
                  <c:v>4.8155887400000002E-4</c:v>
                </c:pt>
                <c:pt idx="506">
                  <c:v>4.6375489399999998E-4</c:v>
                </c:pt>
                <c:pt idx="507">
                  <c:v>4.2089284400000001E-4</c:v>
                </c:pt>
                <c:pt idx="508">
                  <c:v>4.6105692399999999E-4</c:v>
                </c:pt>
                <c:pt idx="509">
                  <c:v>4.9483554499999999E-4</c:v>
                </c:pt>
                <c:pt idx="510">
                  <c:v>4.94892007E-4</c:v>
                </c:pt>
                <c:pt idx="511">
                  <c:v>4.9760321100000002E-4</c:v>
                </c:pt>
                <c:pt idx="512">
                  <c:v>4.5335674800000002E-4</c:v>
                </c:pt>
                <c:pt idx="513">
                  <c:v>4.6453440700000001E-4</c:v>
                </c:pt>
                <c:pt idx="514">
                  <c:v>4.6204703600000001E-4</c:v>
                </c:pt>
                <c:pt idx="515">
                  <c:v>4.7479390500000001E-4</c:v>
                </c:pt>
                <c:pt idx="516">
                  <c:v>4.6980782000000001E-4</c:v>
                </c:pt>
                <c:pt idx="517">
                  <c:v>4.9960112399999995E-4</c:v>
                </c:pt>
                <c:pt idx="518">
                  <c:v>5.1166867899999995E-4</c:v>
                </c:pt>
                <c:pt idx="519">
                  <c:v>5.6990582699999995E-4</c:v>
                </c:pt>
                <c:pt idx="520">
                  <c:v>5.8686358300000002E-4</c:v>
                </c:pt>
                <c:pt idx="521">
                  <c:v>5.98990512E-4</c:v>
                </c:pt>
                <c:pt idx="522">
                  <c:v>6.2179641800000005E-4</c:v>
                </c:pt>
                <c:pt idx="523">
                  <c:v>6.4465264900000002E-4</c:v>
                </c:pt>
                <c:pt idx="524">
                  <c:v>6.3142034699999996E-4</c:v>
                </c:pt>
                <c:pt idx="525">
                  <c:v>6.18888476E-4</c:v>
                </c:pt>
                <c:pt idx="526">
                  <c:v>6.9978648799999999E-4</c:v>
                </c:pt>
                <c:pt idx="527">
                  <c:v>7.6899245299999995E-4</c:v>
                </c:pt>
                <c:pt idx="528">
                  <c:v>8.49676204E-4</c:v>
                </c:pt>
                <c:pt idx="529">
                  <c:v>8.37806807E-4</c:v>
                </c:pt>
                <c:pt idx="530">
                  <c:v>8.53949516E-4</c:v>
                </c:pt>
                <c:pt idx="531">
                  <c:v>9.1874782000000001E-4</c:v>
                </c:pt>
                <c:pt idx="532">
                  <c:v>1.0375448110000001E-3</c:v>
                </c:pt>
                <c:pt idx="533">
                  <c:v>1.1276958980000001E-3</c:v>
                </c:pt>
                <c:pt idx="534">
                  <c:v>1.1447532140000001E-3</c:v>
                </c:pt>
                <c:pt idx="535">
                  <c:v>1.123144805E-3</c:v>
                </c:pt>
                <c:pt idx="536">
                  <c:v>1.132937414E-3</c:v>
                </c:pt>
                <c:pt idx="537">
                  <c:v>1.276635689E-3</c:v>
                </c:pt>
                <c:pt idx="538">
                  <c:v>1.3232382520000001E-3</c:v>
                </c:pt>
                <c:pt idx="539">
                  <c:v>1.643024089E-3</c:v>
                </c:pt>
                <c:pt idx="540">
                  <c:v>1.6862151899999999E-3</c:v>
                </c:pt>
                <c:pt idx="541">
                  <c:v>1.8760727539999999E-3</c:v>
                </c:pt>
                <c:pt idx="542">
                  <c:v>1.957169195E-3</c:v>
                </c:pt>
                <c:pt idx="543">
                  <c:v>1.9593111469999999E-3</c:v>
                </c:pt>
                <c:pt idx="544">
                  <c:v>1.91230298E-3</c:v>
                </c:pt>
                <c:pt idx="545">
                  <c:v>1.9332327420000001E-3</c:v>
                </c:pt>
                <c:pt idx="546">
                  <c:v>1.851123779E-3</c:v>
                </c:pt>
                <c:pt idx="547">
                  <c:v>1.7346643759999999E-3</c:v>
                </c:pt>
                <c:pt idx="548">
                  <c:v>1.5831134560000001E-3</c:v>
                </c:pt>
                <c:pt idx="549">
                  <c:v>1.5004286930000001E-3</c:v>
                </c:pt>
                <c:pt idx="550">
                  <c:v>1.401044414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9AE-45A0-9B3E-567818B4F0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.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pocet_pripadu_7dni_100_000_nyni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53</c:f>
              <c:numCache>
                <c:formatCode>m/d/yyyy</c:formatCode>
                <c:ptCount val="55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</c:numCache>
            </c:numRef>
          </c:cat>
          <c:val>
            <c:numRef>
              <c:f>Sheet1!$B$2:$B$553</c:f>
              <c:numCache>
                <c:formatCode>#\ ##0.0</c:formatCode>
                <c:ptCount val="552"/>
                <c:pt idx="0">
                  <c:v>24.098801535482998</c:v>
                </c:pt>
                <c:pt idx="1">
                  <c:v>26.425517930339002</c:v>
                </c:pt>
                <c:pt idx="2">
                  <c:v>29.462396758968001</c:v>
                </c:pt>
                <c:pt idx="3">
                  <c:v>32.377800434450997</c:v>
                </c:pt>
                <c:pt idx="4">
                  <c:v>34.097141063582001</c:v>
                </c:pt>
                <c:pt idx="5">
                  <c:v>35.358613807780998</c:v>
                </c:pt>
                <c:pt idx="6">
                  <c:v>38.208607785417001</c:v>
                </c:pt>
                <c:pt idx="7">
                  <c:v>44.413184838367997</c:v>
                </c:pt>
                <c:pt idx="8">
                  <c:v>49.206781266325997</c:v>
                </c:pt>
                <c:pt idx="9">
                  <c:v>55.822504991460001</c:v>
                </c:pt>
                <c:pt idx="10">
                  <c:v>61.849541435968</c:v>
                </c:pt>
                <c:pt idx="11">
                  <c:v>71.502143989730996</c:v>
                </c:pt>
                <c:pt idx="12">
                  <c:v>75.062300401138003</c:v>
                </c:pt>
                <c:pt idx="13">
                  <c:v>79.426061671813002</c:v>
                </c:pt>
                <c:pt idx="14">
                  <c:v>84.238346584870001</c:v>
                </c:pt>
                <c:pt idx="15">
                  <c:v>93.348983070754997</c:v>
                </c:pt>
                <c:pt idx="16">
                  <c:v>109.626653592202</c:v>
                </c:pt>
                <c:pt idx="17">
                  <c:v>115.849919130252</c:v>
                </c:pt>
                <c:pt idx="18">
                  <c:v>120.596794345462</c:v>
                </c:pt>
                <c:pt idx="19">
                  <c:v>122.40023315754</c:v>
                </c:pt>
                <c:pt idx="20">
                  <c:v>126.59579806232099</c:v>
                </c:pt>
                <c:pt idx="21">
                  <c:v>133.239554515105</c:v>
                </c:pt>
                <c:pt idx="22">
                  <c:v>134.84676423363999</c:v>
                </c:pt>
                <c:pt idx="23">
                  <c:v>132.800375115272</c:v>
                </c:pt>
                <c:pt idx="24">
                  <c:v>140.62150612930901</c:v>
                </c:pt>
                <c:pt idx="25">
                  <c:v>140.02347460613299</c:v>
                </c:pt>
                <c:pt idx="26">
                  <c:v>143.02297646456199</c:v>
                </c:pt>
                <c:pt idx="27">
                  <c:v>141.219537652485</c:v>
                </c:pt>
                <c:pt idx="28">
                  <c:v>137.24823456889399</c:v>
                </c:pt>
                <c:pt idx="29">
                  <c:v>143.04166494966199</c:v>
                </c:pt>
                <c:pt idx="30">
                  <c:v>148.62017775178799</c:v>
                </c:pt>
                <c:pt idx="31">
                  <c:v>156.56278391896899</c:v>
                </c:pt>
                <c:pt idx="32">
                  <c:v>161.917034899904</c:v>
                </c:pt>
                <c:pt idx="33">
                  <c:v>166.92554890650399</c:v>
                </c:pt>
                <c:pt idx="34">
                  <c:v>184.05354549996599</c:v>
                </c:pt>
                <c:pt idx="35">
                  <c:v>207.37677490383101</c:v>
                </c:pt>
                <c:pt idx="36">
                  <c:v>229.905743690977</c:v>
                </c:pt>
                <c:pt idx="37">
                  <c:v>247.57570635231801</c:v>
                </c:pt>
                <c:pt idx="38">
                  <c:v>292.64298816916101</c:v>
                </c:pt>
                <c:pt idx="39">
                  <c:v>312.10704540003002</c:v>
                </c:pt>
                <c:pt idx="40">
                  <c:v>323.908823740206</c:v>
                </c:pt>
                <c:pt idx="41">
                  <c:v>335.02847237425999</c:v>
                </c:pt>
                <c:pt idx="42">
                  <c:v>371.15331407111103</c:v>
                </c:pt>
                <c:pt idx="43">
                  <c:v>410.473886719934</c:v>
                </c:pt>
                <c:pt idx="44">
                  <c:v>450.93445695981097</c:v>
                </c:pt>
                <c:pt idx="45">
                  <c:v>474.16424393817903</c:v>
                </c:pt>
                <c:pt idx="46">
                  <c:v>512.25137657045104</c:v>
                </c:pt>
                <c:pt idx="47">
                  <c:v>530.51937075496903</c:v>
                </c:pt>
                <c:pt idx="48">
                  <c:v>565.75650940960497</c:v>
                </c:pt>
                <c:pt idx="49">
                  <c:v>599.965781383783</c:v>
                </c:pt>
                <c:pt idx="50">
                  <c:v>650.67698570059895</c:v>
                </c:pt>
                <c:pt idx="51">
                  <c:v>692.10935716563699</c:v>
                </c:pt>
                <c:pt idx="52">
                  <c:v>730.83189829128298</c:v>
                </c:pt>
                <c:pt idx="53">
                  <c:v>765.966250277874</c:v>
                </c:pt>
                <c:pt idx="54">
                  <c:v>786.90669783158398</c:v>
                </c:pt>
                <c:pt idx="55">
                  <c:v>807.42665447056095</c:v>
                </c:pt>
                <c:pt idx="56">
                  <c:v>841.83215553828097</c:v>
                </c:pt>
                <c:pt idx="57">
                  <c:v>823.199735894328</c:v>
                </c:pt>
                <c:pt idx="58">
                  <c:v>812.84631514934301</c:v>
                </c:pt>
                <c:pt idx="59">
                  <c:v>797.49372464030898</c:v>
                </c:pt>
                <c:pt idx="60">
                  <c:v>787.72899117595102</c:v>
                </c:pt>
                <c:pt idx="61">
                  <c:v>780.73015350628202</c:v>
                </c:pt>
                <c:pt idx="62">
                  <c:v>771.077550952519</c:v>
                </c:pt>
                <c:pt idx="63">
                  <c:v>737.65319535251001</c:v>
                </c:pt>
                <c:pt idx="64">
                  <c:v>763.340518121429</c:v>
                </c:pt>
                <c:pt idx="65">
                  <c:v>765.08789147820903</c:v>
                </c:pt>
                <c:pt idx="66">
                  <c:v>745.84809606853105</c:v>
                </c:pt>
                <c:pt idx="67">
                  <c:v>711.20898893706999</c:v>
                </c:pt>
                <c:pt idx="68">
                  <c:v>683.73691584117205</c:v>
                </c:pt>
                <c:pt idx="69">
                  <c:v>653.90074938021905</c:v>
                </c:pt>
                <c:pt idx="70">
                  <c:v>625.55966172720605</c:v>
                </c:pt>
                <c:pt idx="71">
                  <c:v>561.95340269190797</c:v>
                </c:pt>
                <c:pt idx="72">
                  <c:v>511.84022989826798</c:v>
                </c:pt>
                <c:pt idx="73">
                  <c:v>472.70654210043801</c:v>
                </c:pt>
                <c:pt idx="74">
                  <c:v>439.76808711300902</c:v>
                </c:pt>
                <c:pt idx="75">
                  <c:v>423.69598992765401</c:v>
                </c:pt>
                <c:pt idx="76">
                  <c:v>417.85583833413801</c:v>
                </c:pt>
                <c:pt idx="77">
                  <c:v>372.900687427891</c:v>
                </c:pt>
                <c:pt idx="78">
                  <c:v>341.083541546417</c:v>
                </c:pt>
                <c:pt idx="79">
                  <c:v>327.96422500674402</c:v>
                </c:pt>
                <c:pt idx="80">
                  <c:v>313.48999329737399</c:v>
                </c:pt>
                <c:pt idx="81">
                  <c:v>304.09902953500102</c:v>
                </c:pt>
                <c:pt idx="82">
                  <c:v>300.52018463849498</c:v>
                </c:pt>
                <c:pt idx="83">
                  <c:v>290.76479541668601</c:v>
                </c:pt>
                <c:pt idx="84">
                  <c:v>305.85574713433101</c:v>
                </c:pt>
                <c:pt idx="85">
                  <c:v>300.38936524280001</c:v>
                </c:pt>
                <c:pt idx="86">
                  <c:v>277.76695403015702</c:v>
                </c:pt>
                <c:pt idx="87">
                  <c:v>265.18960355836202</c:v>
                </c:pt>
                <c:pt idx="88">
                  <c:v>260.30256470490798</c:v>
                </c:pt>
                <c:pt idx="89">
                  <c:v>256.24716343837099</c:v>
                </c:pt>
                <c:pt idx="90">
                  <c:v>248.715703943373</c:v>
                </c:pt>
                <c:pt idx="91">
                  <c:v>242.36161900962799</c:v>
                </c:pt>
                <c:pt idx="92">
                  <c:v>238.922937751365</c:v>
                </c:pt>
                <c:pt idx="93">
                  <c:v>244.2958772174</c:v>
                </c:pt>
                <c:pt idx="94">
                  <c:v>246.949642101493</c:v>
                </c:pt>
                <c:pt idx="95">
                  <c:v>252.97667854600201</c:v>
                </c:pt>
                <c:pt idx="96">
                  <c:v>253.331759762887</c:v>
                </c:pt>
                <c:pt idx="97">
                  <c:v>259.66715621153298</c:v>
                </c:pt>
                <c:pt idx="98">
                  <c:v>265.96517568998098</c:v>
                </c:pt>
                <c:pt idx="99">
                  <c:v>283.30808986208501</c:v>
                </c:pt>
                <c:pt idx="100">
                  <c:v>295.00708153421601</c:v>
                </c:pt>
                <c:pt idx="101">
                  <c:v>308.67770838431699</c:v>
                </c:pt>
                <c:pt idx="102">
                  <c:v>311.87343933628898</c:v>
                </c:pt>
                <c:pt idx="103">
                  <c:v>320.15243823525702</c:v>
                </c:pt>
                <c:pt idx="104">
                  <c:v>328.82389532130901</c:v>
                </c:pt>
                <c:pt idx="105">
                  <c:v>348.06369073098699</c:v>
                </c:pt>
                <c:pt idx="106">
                  <c:v>365.31316247759599</c:v>
                </c:pt>
                <c:pt idx="107">
                  <c:v>381.581488756493</c:v>
                </c:pt>
                <c:pt idx="108">
                  <c:v>406.30635454280099</c:v>
                </c:pt>
                <c:pt idx="109">
                  <c:v>422.21959960481303</c:v>
                </c:pt>
                <c:pt idx="110">
                  <c:v>435.49776826783</c:v>
                </c:pt>
                <c:pt idx="111">
                  <c:v>461.62427043658198</c:v>
                </c:pt>
                <c:pt idx="112">
                  <c:v>490.01207930234301</c:v>
                </c:pt>
                <c:pt idx="113">
                  <c:v>545.27392974082704</c:v>
                </c:pt>
                <c:pt idx="114">
                  <c:v>515.03596085024003</c:v>
                </c:pt>
                <c:pt idx="115">
                  <c:v>457.32591886375502</c:v>
                </c:pt>
                <c:pt idx="116">
                  <c:v>435.72203008902102</c:v>
                </c:pt>
                <c:pt idx="117">
                  <c:v>439.27284225787901</c:v>
                </c:pt>
                <c:pt idx="118">
                  <c:v>467.604585668342</c:v>
                </c:pt>
                <c:pt idx="119">
                  <c:v>519.86693424839598</c:v>
                </c:pt>
                <c:pt idx="120">
                  <c:v>547.40441704214095</c:v>
                </c:pt>
                <c:pt idx="121">
                  <c:v>631.09145331658397</c:v>
                </c:pt>
                <c:pt idx="122">
                  <c:v>638.37061826274203</c:v>
                </c:pt>
                <c:pt idx="123">
                  <c:v>656.63861244725899</c:v>
                </c:pt>
                <c:pt idx="124">
                  <c:v>679.96184185112395</c:v>
                </c:pt>
                <c:pt idx="125">
                  <c:v>698.62229422272503</c:v>
                </c:pt>
                <c:pt idx="126">
                  <c:v>707.22834161092999</c:v>
                </c:pt>
                <c:pt idx="127">
                  <c:v>714.21783503805</c:v>
                </c:pt>
                <c:pt idx="128">
                  <c:v>729.66386797257996</c:v>
                </c:pt>
                <c:pt idx="129">
                  <c:v>820.38711888689102</c:v>
                </c:pt>
                <c:pt idx="130">
                  <c:v>852.93311568723504</c:v>
                </c:pt>
                <c:pt idx="131">
                  <c:v>834.63708877506895</c:v>
                </c:pt>
                <c:pt idx="132">
                  <c:v>801.38092954095305</c:v>
                </c:pt>
                <c:pt idx="133">
                  <c:v>739.40056870929004</c:v>
                </c:pt>
                <c:pt idx="134">
                  <c:v>674.757098750983</c:v>
                </c:pt>
                <c:pt idx="135">
                  <c:v>610.61821789035503</c:v>
                </c:pt>
                <c:pt idx="136">
                  <c:v>574.93255559333704</c:v>
                </c:pt>
                <c:pt idx="137">
                  <c:v>544.76934064314696</c:v>
                </c:pt>
                <c:pt idx="138">
                  <c:v>529.03363618957803</c:v>
                </c:pt>
                <c:pt idx="139">
                  <c:v>512.718588697933</c:v>
                </c:pt>
                <c:pt idx="140">
                  <c:v>501.53353036603102</c:v>
                </c:pt>
                <c:pt idx="141">
                  <c:v>476.21997729909702</c:v>
                </c:pt>
                <c:pt idx="142">
                  <c:v>471.20211904994801</c:v>
                </c:pt>
                <c:pt idx="143">
                  <c:v>463.23148015511799</c:v>
                </c:pt>
                <c:pt idx="144">
                  <c:v>453.81248366509499</c:v>
                </c:pt>
                <c:pt idx="145">
                  <c:v>451.56052121063601</c:v>
                </c:pt>
                <c:pt idx="146">
                  <c:v>445.13168233649401</c:v>
                </c:pt>
                <c:pt idx="147">
                  <c:v>441.19775622310198</c:v>
                </c:pt>
                <c:pt idx="148">
                  <c:v>444.03840595818798</c:v>
                </c:pt>
                <c:pt idx="149">
                  <c:v>448.27134783316802</c:v>
                </c:pt>
                <c:pt idx="150">
                  <c:v>444.28135626447801</c:v>
                </c:pt>
                <c:pt idx="151">
                  <c:v>442.59004836299601</c:v>
                </c:pt>
                <c:pt idx="152">
                  <c:v>444.21594656663001</c:v>
                </c:pt>
                <c:pt idx="153">
                  <c:v>446.53331871893698</c:v>
                </c:pt>
                <c:pt idx="154">
                  <c:v>446.12217204675397</c:v>
                </c:pt>
                <c:pt idx="155">
                  <c:v>456.77460855332703</c:v>
                </c:pt>
                <c:pt idx="156">
                  <c:v>457.51280371474701</c:v>
                </c:pt>
                <c:pt idx="157">
                  <c:v>462.876398938232</c:v>
                </c:pt>
                <c:pt idx="158">
                  <c:v>469.968679033397</c:v>
                </c:pt>
                <c:pt idx="159">
                  <c:v>468.78196022959497</c:v>
                </c:pt>
                <c:pt idx="160">
                  <c:v>474.033424542484</c:v>
                </c:pt>
                <c:pt idx="161">
                  <c:v>484.69520529160701</c:v>
                </c:pt>
                <c:pt idx="162">
                  <c:v>483.64865012604901</c:v>
                </c:pt>
                <c:pt idx="163">
                  <c:v>492.31076296955098</c:v>
                </c:pt>
                <c:pt idx="164">
                  <c:v>494.23567693477401</c:v>
                </c:pt>
                <c:pt idx="165">
                  <c:v>497.26321152085302</c:v>
                </c:pt>
                <c:pt idx="166">
                  <c:v>501.25320308954201</c:v>
                </c:pt>
                <c:pt idx="167">
                  <c:v>511.56924686432899</c:v>
                </c:pt>
                <c:pt idx="168">
                  <c:v>533.19182412416103</c:v>
                </c:pt>
                <c:pt idx="169">
                  <c:v>546.12425581284299</c:v>
                </c:pt>
                <c:pt idx="170">
                  <c:v>571.14813736073904</c:v>
                </c:pt>
                <c:pt idx="171">
                  <c:v>594.09759706261798</c:v>
                </c:pt>
                <c:pt idx="172">
                  <c:v>609.35674514615596</c:v>
                </c:pt>
                <c:pt idx="173">
                  <c:v>620.45770529511105</c:v>
                </c:pt>
                <c:pt idx="174">
                  <c:v>644.08929470311296</c:v>
                </c:pt>
                <c:pt idx="175">
                  <c:v>674.392673291547</c:v>
                </c:pt>
                <c:pt idx="176">
                  <c:v>701.19196092387199</c:v>
                </c:pt>
                <c:pt idx="177">
                  <c:v>728.18747764973898</c:v>
                </c:pt>
                <c:pt idx="178">
                  <c:v>761.14462112226704</c:v>
                </c:pt>
                <c:pt idx="179">
                  <c:v>771.28312428861102</c:v>
                </c:pt>
                <c:pt idx="180">
                  <c:v>776.21688435481303</c:v>
                </c:pt>
                <c:pt idx="181">
                  <c:v>784.76686628771995</c:v>
                </c:pt>
                <c:pt idx="182">
                  <c:v>793.66258519496296</c:v>
                </c:pt>
                <c:pt idx="183">
                  <c:v>807.11829446642298</c:v>
                </c:pt>
                <c:pt idx="184">
                  <c:v>807.69763750449999</c:v>
                </c:pt>
                <c:pt idx="185">
                  <c:v>792.36373548056497</c:v>
                </c:pt>
                <c:pt idx="186">
                  <c:v>804.23092351858895</c:v>
                </c:pt>
                <c:pt idx="187">
                  <c:v>798.65241071646301</c:v>
                </c:pt>
                <c:pt idx="188">
                  <c:v>783.07555838623796</c:v>
                </c:pt>
                <c:pt idx="189">
                  <c:v>769.82542245086904</c:v>
                </c:pt>
                <c:pt idx="190">
                  <c:v>763.49937024477299</c:v>
                </c:pt>
                <c:pt idx="191">
                  <c:v>731.81304375899401</c:v>
                </c:pt>
                <c:pt idx="192">
                  <c:v>748.67005731851805</c:v>
                </c:pt>
                <c:pt idx="193">
                  <c:v>729.17796736000003</c:v>
                </c:pt>
                <c:pt idx="194">
                  <c:v>723.08552121764399</c:v>
                </c:pt>
                <c:pt idx="195">
                  <c:v>722.71175151565899</c:v>
                </c:pt>
                <c:pt idx="196">
                  <c:v>710.35866286505495</c:v>
                </c:pt>
                <c:pt idx="197">
                  <c:v>686.92330255059505</c:v>
                </c:pt>
                <c:pt idx="198">
                  <c:v>681.68118248025496</c:v>
                </c:pt>
                <c:pt idx="199">
                  <c:v>632.69866303512003</c:v>
                </c:pt>
                <c:pt idx="200">
                  <c:v>618.34590647889502</c:v>
                </c:pt>
                <c:pt idx="201">
                  <c:v>609.44084332910302</c:v>
                </c:pt>
                <c:pt idx="202">
                  <c:v>587.06138242274994</c:v>
                </c:pt>
                <c:pt idx="203">
                  <c:v>558.30914809755404</c:v>
                </c:pt>
                <c:pt idx="204">
                  <c:v>528.398227696204</c:v>
                </c:pt>
                <c:pt idx="205">
                  <c:v>502.49598734864298</c:v>
                </c:pt>
                <c:pt idx="206">
                  <c:v>483.78881376429302</c:v>
                </c:pt>
                <c:pt idx="207">
                  <c:v>469.45474569316798</c:v>
                </c:pt>
                <c:pt idx="208">
                  <c:v>463.35295530826301</c:v>
                </c:pt>
                <c:pt idx="209">
                  <c:v>451.12134181080302</c:v>
                </c:pt>
                <c:pt idx="210">
                  <c:v>429.18106030428402</c:v>
                </c:pt>
                <c:pt idx="211">
                  <c:v>414.21158373978398</c:v>
                </c:pt>
                <c:pt idx="212">
                  <c:v>398.382436860719</c:v>
                </c:pt>
                <c:pt idx="213">
                  <c:v>361.96792364483002</c:v>
                </c:pt>
                <c:pt idx="214">
                  <c:v>344.96140220451201</c:v>
                </c:pt>
                <c:pt idx="215">
                  <c:v>346.69943131874197</c:v>
                </c:pt>
                <c:pt idx="216">
                  <c:v>295.10986820226202</c:v>
                </c:pt>
                <c:pt idx="217">
                  <c:v>266.57255145570599</c:v>
                </c:pt>
                <c:pt idx="218">
                  <c:v>264.55419506498703</c:v>
                </c:pt>
                <c:pt idx="219">
                  <c:v>255.63978767264501</c:v>
                </c:pt>
                <c:pt idx="220">
                  <c:v>264.93730900952198</c:v>
                </c:pt>
                <c:pt idx="221">
                  <c:v>265.48861931994998</c:v>
                </c:pt>
                <c:pt idx="222">
                  <c:v>256.64896586800398</c:v>
                </c:pt>
                <c:pt idx="223">
                  <c:v>279.514327386937</c:v>
                </c:pt>
                <c:pt idx="224">
                  <c:v>274.767452171728</c:v>
                </c:pt>
                <c:pt idx="225">
                  <c:v>243.576370541079</c:v>
                </c:pt>
                <c:pt idx="226">
                  <c:v>224.71034483338599</c:v>
                </c:pt>
                <c:pt idx="227">
                  <c:v>209.57267190299299</c:v>
                </c:pt>
                <c:pt idx="228">
                  <c:v>203.26530818199601</c:v>
                </c:pt>
                <c:pt idx="229">
                  <c:v>201.91973725484999</c:v>
                </c:pt>
                <c:pt idx="230">
                  <c:v>196.93925597590001</c:v>
                </c:pt>
                <c:pt idx="231">
                  <c:v>185.04403521022701</c:v>
                </c:pt>
                <c:pt idx="232">
                  <c:v>177.95175511506099</c:v>
                </c:pt>
                <c:pt idx="233">
                  <c:v>171.906030185454</c:v>
                </c:pt>
                <c:pt idx="234">
                  <c:v>166.16866525998401</c:v>
                </c:pt>
                <c:pt idx="235">
                  <c:v>164.04752220121901</c:v>
                </c:pt>
                <c:pt idx="236">
                  <c:v>163.93539129062299</c:v>
                </c:pt>
                <c:pt idx="237">
                  <c:v>156.96458634860301</c:v>
                </c:pt>
                <c:pt idx="238">
                  <c:v>151.694433550615</c:v>
                </c:pt>
                <c:pt idx="239">
                  <c:v>147.31198379483999</c:v>
                </c:pt>
                <c:pt idx="240">
                  <c:v>143.56494253244099</c:v>
                </c:pt>
                <c:pt idx="241">
                  <c:v>139.537573993552</c:v>
                </c:pt>
                <c:pt idx="242">
                  <c:v>138.22003579405501</c:v>
                </c:pt>
                <c:pt idx="243">
                  <c:v>135.25791090582399</c:v>
                </c:pt>
                <c:pt idx="244">
                  <c:v>131.71644297951599</c:v>
                </c:pt>
                <c:pt idx="245">
                  <c:v>123.96072166332701</c:v>
                </c:pt>
                <c:pt idx="246">
                  <c:v>118.24204522295599</c:v>
                </c:pt>
                <c:pt idx="247">
                  <c:v>112.112222110402</c:v>
                </c:pt>
                <c:pt idx="248">
                  <c:v>107.113052346353</c:v>
                </c:pt>
                <c:pt idx="249">
                  <c:v>102.93617592667</c:v>
                </c:pt>
                <c:pt idx="250">
                  <c:v>101.75880136541799</c:v>
                </c:pt>
                <c:pt idx="251">
                  <c:v>95.507503099717994</c:v>
                </c:pt>
                <c:pt idx="252">
                  <c:v>88.723583008689999</c:v>
                </c:pt>
                <c:pt idx="253">
                  <c:v>82.986218083221004</c:v>
                </c:pt>
                <c:pt idx="254">
                  <c:v>79.725077433400998</c:v>
                </c:pt>
                <c:pt idx="255">
                  <c:v>74.202630086572995</c:v>
                </c:pt>
                <c:pt idx="256">
                  <c:v>72.969190070021995</c:v>
                </c:pt>
                <c:pt idx="257">
                  <c:v>71.754438538570994</c:v>
                </c:pt>
                <c:pt idx="258">
                  <c:v>67.885922123026006</c:v>
                </c:pt>
                <c:pt idx="259">
                  <c:v>63.30724327371</c:v>
                </c:pt>
                <c:pt idx="260">
                  <c:v>58.747252909493</c:v>
                </c:pt>
                <c:pt idx="261">
                  <c:v>53.663984962496997</c:v>
                </c:pt>
                <c:pt idx="262">
                  <c:v>50.122517036189002</c:v>
                </c:pt>
                <c:pt idx="263">
                  <c:v>47.664981245637001</c:v>
                </c:pt>
                <c:pt idx="264">
                  <c:v>47.104326692660003</c:v>
                </c:pt>
                <c:pt idx="265">
                  <c:v>42.992859970825002</c:v>
                </c:pt>
                <c:pt idx="266">
                  <c:v>37.918936266377997</c:v>
                </c:pt>
                <c:pt idx="267">
                  <c:v>35.685662297017998</c:v>
                </c:pt>
                <c:pt idx="268">
                  <c:v>34.069108335933002</c:v>
                </c:pt>
                <c:pt idx="269">
                  <c:v>32.004030732465999</c:v>
                </c:pt>
                <c:pt idx="270">
                  <c:v>30.938787081808002</c:v>
                </c:pt>
                <c:pt idx="271">
                  <c:v>30.144526465089999</c:v>
                </c:pt>
                <c:pt idx="272">
                  <c:v>28.453218563608001</c:v>
                </c:pt>
                <c:pt idx="273">
                  <c:v>26.733877934477</c:v>
                </c:pt>
                <c:pt idx="274">
                  <c:v>24.967816092597999</c:v>
                </c:pt>
                <c:pt idx="275">
                  <c:v>24.220276688628001</c:v>
                </c:pt>
                <c:pt idx="276">
                  <c:v>23.024213642275999</c:v>
                </c:pt>
                <c:pt idx="277">
                  <c:v>22.379460906352001</c:v>
                </c:pt>
                <c:pt idx="278">
                  <c:v>22.248641510656999</c:v>
                </c:pt>
                <c:pt idx="279">
                  <c:v>20.164875422091001</c:v>
                </c:pt>
                <c:pt idx="280">
                  <c:v>19.258483894777001</c:v>
                </c:pt>
                <c:pt idx="281">
                  <c:v>18.342748124913999</c:v>
                </c:pt>
                <c:pt idx="282">
                  <c:v>16.081441427904</c:v>
                </c:pt>
                <c:pt idx="283">
                  <c:v>14.69849353056</c:v>
                </c:pt>
                <c:pt idx="284">
                  <c:v>13.988331096788</c:v>
                </c:pt>
                <c:pt idx="285">
                  <c:v>13.45570927146</c:v>
                </c:pt>
                <c:pt idx="286">
                  <c:v>12.325055922955</c:v>
                </c:pt>
                <c:pt idx="287">
                  <c:v>10.680469234221</c:v>
                </c:pt>
                <c:pt idx="288">
                  <c:v>9.5030946729680004</c:v>
                </c:pt>
                <c:pt idx="289">
                  <c:v>9.2227673964800001</c:v>
                </c:pt>
                <c:pt idx="290">
                  <c:v>8.9144073923419995</c:v>
                </c:pt>
                <c:pt idx="291">
                  <c:v>8.7929322391970004</c:v>
                </c:pt>
                <c:pt idx="292">
                  <c:v>8.9517843625399998</c:v>
                </c:pt>
                <c:pt idx="293">
                  <c:v>8.4285067797609994</c:v>
                </c:pt>
                <c:pt idx="294">
                  <c:v>7.5034267673489996</c:v>
                </c:pt>
                <c:pt idx="295">
                  <c:v>7.3071976738059998</c:v>
                </c:pt>
                <c:pt idx="296">
                  <c:v>6.6904776655309997</c:v>
                </c:pt>
                <c:pt idx="297">
                  <c:v>6.5409697847370003</c:v>
                </c:pt>
                <c:pt idx="298">
                  <c:v>6.5690025123859996</c:v>
                </c:pt>
                <c:pt idx="299">
                  <c:v>6.5690025123859996</c:v>
                </c:pt>
                <c:pt idx="300">
                  <c:v>6.8867067590730002</c:v>
                </c:pt>
                <c:pt idx="301">
                  <c:v>7.3632631291040003</c:v>
                </c:pt>
                <c:pt idx="302">
                  <c:v>7.6062134353940003</c:v>
                </c:pt>
                <c:pt idx="303">
                  <c:v>8.278998898967</c:v>
                </c:pt>
                <c:pt idx="304">
                  <c:v>8.5967031456550007</c:v>
                </c:pt>
                <c:pt idx="305">
                  <c:v>9.1386692135329994</c:v>
                </c:pt>
                <c:pt idx="306">
                  <c:v>9.6058813410139994</c:v>
                </c:pt>
                <c:pt idx="307">
                  <c:v>9.3629310347239993</c:v>
                </c:pt>
                <c:pt idx="308">
                  <c:v>8.8770304221429992</c:v>
                </c:pt>
                <c:pt idx="309">
                  <c:v>10.20391286419</c:v>
                </c:pt>
                <c:pt idx="310">
                  <c:v>11.035550451107</c:v>
                </c:pt>
                <c:pt idx="311">
                  <c:v>12.147515314512001</c:v>
                </c:pt>
                <c:pt idx="312">
                  <c:v>12.502596531398</c:v>
                </c:pt>
                <c:pt idx="313">
                  <c:v>12.96046441633</c:v>
                </c:pt>
                <c:pt idx="314">
                  <c:v>14.007019581888001</c:v>
                </c:pt>
                <c:pt idx="315">
                  <c:v>15.987999002407999</c:v>
                </c:pt>
                <c:pt idx="316">
                  <c:v>15.782425666316</c:v>
                </c:pt>
                <c:pt idx="317">
                  <c:v>15.418000206881</c:v>
                </c:pt>
                <c:pt idx="318">
                  <c:v>15.034886262345999</c:v>
                </c:pt>
                <c:pt idx="319">
                  <c:v>15.352590509034</c:v>
                </c:pt>
                <c:pt idx="320">
                  <c:v>14.969476564499001</c:v>
                </c:pt>
                <c:pt idx="321">
                  <c:v>14.782591713506999</c:v>
                </c:pt>
                <c:pt idx="322">
                  <c:v>14.567674134864999</c:v>
                </c:pt>
                <c:pt idx="323">
                  <c:v>14.334068071124999</c:v>
                </c:pt>
                <c:pt idx="324">
                  <c:v>14.259314130728001</c:v>
                </c:pt>
                <c:pt idx="325">
                  <c:v>13.736036547948</c:v>
                </c:pt>
                <c:pt idx="326">
                  <c:v>13.081939569475001</c:v>
                </c:pt>
                <c:pt idx="327">
                  <c:v>12.745546837688</c:v>
                </c:pt>
                <c:pt idx="328">
                  <c:v>12.539973501596</c:v>
                </c:pt>
                <c:pt idx="329">
                  <c:v>12.128826829413001</c:v>
                </c:pt>
                <c:pt idx="330">
                  <c:v>11.829811067825</c:v>
                </c:pt>
                <c:pt idx="331">
                  <c:v>11.783089855077</c:v>
                </c:pt>
                <c:pt idx="332">
                  <c:v>11.325221970145</c:v>
                </c:pt>
                <c:pt idx="333">
                  <c:v>11.231779544648999</c:v>
                </c:pt>
                <c:pt idx="334">
                  <c:v>11.194402574450001</c:v>
                </c:pt>
                <c:pt idx="335">
                  <c:v>10.755223174617999</c:v>
                </c:pt>
                <c:pt idx="336">
                  <c:v>10.624403778923</c:v>
                </c:pt>
                <c:pt idx="337">
                  <c:v>10.69915771932</c:v>
                </c:pt>
                <c:pt idx="338">
                  <c:v>10.306699532235999</c:v>
                </c:pt>
                <c:pt idx="339">
                  <c:v>10.671124991671</c:v>
                </c:pt>
                <c:pt idx="340">
                  <c:v>11.035550451107</c:v>
                </c:pt>
                <c:pt idx="341">
                  <c:v>11.315877727596</c:v>
                </c:pt>
                <c:pt idx="342">
                  <c:v>11.530795306237</c:v>
                </c:pt>
                <c:pt idx="343">
                  <c:v>11.708335914679999</c:v>
                </c:pt>
                <c:pt idx="344">
                  <c:v>11.811122582726</c:v>
                </c:pt>
                <c:pt idx="345">
                  <c:v>12.044728646466</c:v>
                </c:pt>
                <c:pt idx="346">
                  <c:v>12.45587531865</c:v>
                </c:pt>
                <c:pt idx="347">
                  <c:v>12.325055922955</c:v>
                </c:pt>
                <c:pt idx="348">
                  <c:v>12.044728646466</c:v>
                </c:pt>
                <c:pt idx="349">
                  <c:v>12.418498348450999</c:v>
                </c:pt>
                <c:pt idx="350">
                  <c:v>12.782923807887</c:v>
                </c:pt>
                <c:pt idx="351">
                  <c:v>12.680137139840999</c:v>
                </c:pt>
                <c:pt idx="352">
                  <c:v>12.45587531865</c:v>
                </c:pt>
                <c:pt idx="353">
                  <c:v>11.969974706068999</c:v>
                </c:pt>
                <c:pt idx="354">
                  <c:v>11.904565008222001</c:v>
                </c:pt>
                <c:pt idx="355">
                  <c:v>12.184892284710999</c:v>
                </c:pt>
                <c:pt idx="356">
                  <c:v>12.166203799611001</c:v>
                </c:pt>
                <c:pt idx="357">
                  <c:v>11.727024399778999</c:v>
                </c:pt>
                <c:pt idx="358">
                  <c:v>12.110138344314</c:v>
                </c:pt>
                <c:pt idx="359">
                  <c:v>12.558661986696</c:v>
                </c:pt>
                <c:pt idx="360">
                  <c:v>12.670792897290999</c:v>
                </c:pt>
                <c:pt idx="361">
                  <c:v>12.652104412191999</c:v>
                </c:pt>
                <c:pt idx="362">
                  <c:v>12.409154105901999</c:v>
                </c:pt>
                <c:pt idx="363">
                  <c:v>12.661448654741999</c:v>
                </c:pt>
                <c:pt idx="364">
                  <c:v>13.016529871627</c:v>
                </c:pt>
                <c:pt idx="365">
                  <c:v>13.128660782222999</c:v>
                </c:pt>
                <c:pt idx="366">
                  <c:v>13.988331096788</c:v>
                </c:pt>
                <c:pt idx="367">
                  <c:v>15.175049900591</c:v>
                </c:pt>
                <c:pt idx="368">
                  <c:v>15.866523849263</c:v>
                </c:pt>
                <c:pt idx="369">
                  <c:v>16.427178402241001</c:v>
                </c:pt>
                <c:pt idx="370">
                  <c:v>17.847503269783999</c:v>
                </c:pt>
                <c:pt idx="371">
                  <c:v>20.576022094273998</c:v>
                </c:pt>
                <c:pt idx="372">
                  <c:v>21.697331200229002</c:v>
                </c:pt>
                <c:pt idx="373">
                  <c:v>22.762574850886001</c:v>
                </c:pt>
                <c:pt idx="374">
                  <c:v>24.024047595086</c:v>
                </c:pt>
                <c:pt idx="375">
                  <c:v>24.435194267269001</c:v>
                </c:pt>
                <c:pt idx="376">
                  <c:v>24.397817297071001</c:v>
                </c:pt>
                <c:pt idx="377">
                  <c:v>25.350930037133001</c:v>
                </c:pt>
                <c:pt idx="378">
                  <c:v>25.107979730842001</c:v>
                </c:pt>
                <c:pt idx="379">
                  <c:v>26.434862172889002</c:v>
                </c:pt>
                <c:pt idx="380">
                  <c:v>27.761744614935999</c:v>
                </c:pt>
                <c:pt idx="381">
                  <c:v>27.789777342585001</c:v>
                </c:pt>
                <c:pt idx="382">
                  <c:v>28.266333712615999</c:v>
                </c:pt>
                <c:pt idx="383">
                  <c:v>28.742890082647001</c:v>
                </c:pt>
                <c:pt idx="384">
                  <c:v>28.612070686951999</c:v>
                </c:pt>
                <c:pt idx="385">
                  <c:v>28.985840388937</c:v>
                </c:pt>
                <c:pt idx="386">
                  <c:v>28.976496146386999</c:v>
                </c:pt>
                <c:pt idx="387">
                  <c:v>28.247645227515999</c:v>
                </c:pt>
                <c:pt idx="388">
                  <c:v>29.041905844235</c:v>
                </c:pt>
                <c:pt idx="389">
                  <c:v>30.125837979991001</c:v>
                </c:pt>
                <c:pt idx="390">
                  <c:v>30.723869503166998</c:v>
                </c:pt>
                <c:pt idx="391">
                  <c:v>32.555341042894</c:v>
                </c:pt>
                <c:pt idx="392">
                  <c:v>31.405999209290002</c:v>
                </c:pt>
                <c:pt idx="393">
                  <c:v>33.377634387260997</c:v>
                </c:pt>
                <c:pt idx="394">
                  <c:v>37.470412623995998</c:v>
                </c:pt>
                <c:pt idx="395">
                  <c:v>40.236308418684999</c:v>
                </c:pt>
                <c:pt idx="396">
                  <c:v>41.488436920334998</c:v>
                </c:pt>
                <c:pt idx="397">
                  <c:v>42.105156928611002</c:v>
                </c:pt>
                <c:pt idx="398">
                  <c:v>43.469416340856</c:v>
                </c:pt>
                <c:pt idx="399">
                  <c:v>49.636616423607997</c:v>
                </c:pt>
                <c:pt idx="400">
                  <c:v>52.570708584191003</c:v>
                </c:pt>
                <c:pt idx="401">
                  <c:v>53.224805562664002</c:v>
                </c:pt>
                <c:pt idx="402">
                  <c:v>55.000211647093003</c:v>
                </c:pt>
                <c:pt idx="403">
                  <c:v>56.084143782849999</c:v>
                </c:pt>
                <c:pt idx="404">
                  <c:v>56.271028633842</c:v>
                </c:pt>
                <c:pt idx="405">
                  <c:v>61.158067487296002</c:v>
                </c:pt>
                <c:pt idx="406">
                  <c:v>64.652814200856</c:v>
                </c:pt>
                <c:pt idx="407">
                  <c:v>68.876411833286994</c:v>
                </c:pt>
                <c:pt idx="408">
                  <c:v>73.997056750480994</c:v>
                </c:pt>
                <c:pt idx="409">
                  <c:v>81.126713815844994</c:v>
                </c:pt>
                <c:pt idx="410">
                  <c:v>85.705392665161995</c:v>
                </c:pt>
                <c:pt idx="411">
                  <c:v>89.985055752890005</c:v>
                </c:pt>
                <c:pt idx="412">
                  <c:v>101.132737114593</c:v>
                </c:pt>
                <c:pt idx="413">
                  <c:v>117.40106339349001</c:v>
                </c:pt>
                <c:pt idx="414">
                  <c:v>134.043159374373</c:v>
                </c:pt>
                <c:pt idx="415">
                  <c:v>153.72213418388301</c:v>
                </c:pt>
                <c:pt idx="416">
                  <c:v>176.68093812831199</c:v>
                </c:pt>
                <c:pt idx="417">
                  <c:v>191.613037722613</c:v>
                </c:pt>
                <c:pt idx="418">
                  <c:v>201.368426944422</c:v>
                </c:pt>
                <c:pt idx="419">
                  <c:v>217.702162921167</c:v>
                </c:pt>
                <c:pt idx="420">
                  <c:v>246.12734875712599</c:v>
                </c:pt>
                <c:pt idx="421">
                  <c:v>270.28221574790803</c:v>
                </c:pt>
                <c:pt idx="422">
                  <c:v>276.92597220069098</c:v>
                </c:pt>
                <c:pt idx="423">
                  <c:v>291.129220876121</c:v>
                </c:pt>
                <c:pt idx="424">
                  <c:v>312.667699953007</c:v>
                </c:pt>
                <c:pt idx="425">
                  <c:v>321.56341886025001</c:v>
                </c:pt>
                <c:pt idx="426">
                  <c:v>352.67974655050199</c:v>
                </c:pt>
                <c:pt idx="427">
                  <c:v>386.786231856634</c:v>
                </c:pt>
                <c:pt idx="428">
                  <c:v>420.58435715862799</c:v>
                </c:pt>
                <c:pt idx="429">
                  <c:v>459.24148858642798</c:v>
                </c:pt>
                <c:pt idx="430">
                  <c:v>491.93699326756598</c:v>
                </c:pt>
                <c:pt idx="431">
                  <c:v>498.32845517150997</c:v>
                </c:pt>
                <c:pt idx="432">
                  <c:v>500.384188532427</c:v>
                </c:pt>
                <c:pt idx="433">
                  <c:v>516.00776207540105</c:v>
                </c:pt>
                <c:pt idx="434">
                  <c:v>559.38373599076101</c:v>
                </c:pt>
                <c:pt idx="435">
                  <c:v>597.58299953362803</c:v>
                </c:pt>
                <c:pt idx="436">
                  <c:v>615.89771493089404</c:v>
                </c:pt>
                <c:pt idx="437">
                  <c:v>662.63761616411898</c:v>
                </c:pt>
                <c:pt idx="438">
                  <c:v>694.76312204972999</c:v>
                </c:pt>
                <c:pt idx="439">
                  <c:v>719.87110178057299</c:v>
                </c:pt>
                <c:pt idx="440">
                  <c:v>741.11990933842105</c:v>
                </c:pt>
                <c:pt idx="441">
                  <c:v>815.47204730578801</c:v>
                </c:pt>
                <c:pt idx="442">
                  <c:v>821.34023162695303</c:v>
                </c:pt>
                <c:pt idx="443">
                  <c:v>849.97099079900397</c:v>
                </c:pt>
                <c:pt idx="444">
                  <c:v>931.37803189133899</c:v>
                </c:pt>
                <c:pt idx="445">
                  <c:v>980.26710891097798</c:v>
                </c:pt>
                <c:pt idx="446">
                  <c:v>1004.36591044646</c:v>
                </c:pt>
                <c:pt idx="447">
                  <c:v>1031.9781471806</c:v>
                </c:pt>
                <c:pt idx="448">
                  <c:v>1063.4869330579299</c:v>
                </c:pt>
                <c:pt idx="449">
                  <c:v>1099.44357838889</c:v>
                </c:pt>
                <c:pt idx="450">
                  <c:v>1234.1782117119401</c:v>
                </c:pt>
                <c:pt idx="451">
                  <c:v>1209.9859677509601</c:v>
                </c:pt>
                <c:pt idx="452">
                  <c:v>1192.35338205982</c:v>
                </c:pt>
                <c:pt idx="453">
                  <c:v>1201.96860764338</c:v>
                </c:pt>
                <c:pt idx="454">
                  <c:v>1230.9264153046699</c:v>
                </c:pt>
                <c:pt idx="455">
                  <c:v>1194.59600027173</c:v>
                </c:pt>
                <c:pt idx="456">
                  <c:v>1223.62856187341</c:v>
                </c:pt>
                <c:pt idx="457">
                  <c:v>1136.6149752512999</c:v>
                </c:pt>
                <c:pt idx="458">
                  <c:v>1111.40420885241</c:v>
                </c:pt>
                <c:pt idx="459">
                  <c:v>1096.9580098706899</c:v>
                </c:pt>
                <c:pt idx="460">
                  <c:v>1069.1869210132099</c:v>
                </c:pt>
                <c:pt idx="461">
                  <c:v>1050.16204318217</c:v>
                </c:pt>
                <c:pt idx="462">
                  <c:v>1026.9229119612501</c:v>
                </c:pt>
                <c:pt idx="463">
                  <c:v>980.71563255336002</c:v>
                </c:pt>
                <c:pt idx="464">
                  <c:v>939.97473503699405</c:v>
                </c:pt>
                <c:pt idx="465">
                  <c:v>890.59041316222499</c:v>
                </c:pt>
                <c:pt idx="466">
                  <c:v>872.873729288135</c:v>
                </c:pt>
                <c:pt idx="467">
                  <c:v>852.26033022366198</c:v>
                </c:pt>
                <c:pt idx="468">
                  <c:v>817.91089461124</c:v>
                </c:pt>
                <c:pt idx="469">
                  <c:v>791.466688195801</c:v>
                </c:pt>
                <c:pt idx="470">
                  <c:v>748.56727065047198</c:v>
                </c:pt>
                <c:pt idx="471">
                  <c:v>704.05129914405802</c:v>
                </c:pt>
                <c:pt idx="472">
                  <c:v>671.92579325844599</c:v>
                </c:pt>
                <c:pt idx="473">
                  <c:v>642.94929711205896</c:v>
                </c:pt>
                <c:pt idx="474">
                  <c:v>639.35176373045294</c:v>
                </c:pt>
                <c:pt idx="475">
                  <c:v>608.469042103942</c:v>
                </c:pt>
                <c:pt idx="476">
                  <c:v>563.04667907021405</c:v>
                </c:pt>
                <c:pt idx="477">
                  <c:v>526.39855979058405</c:v>
                </c:pt>
                <c:pt idx="478">
                  <c:v>506.401880734386</c:v>
                </c:pt>
                <c:pt idx="479">
                  <c:v>441.76775501862897</c:v>
                </c:pt>
                <c:pt idx="480">
                  <c:v>396.02768773821299</c:v>
                </c:pt>
                <c:pt idx="481">
                  <c:v>379.871492369912</c:v>
                </c:pt>
                <c:pt idx="482">
                  <c:v>363.64054306121301</c:v>
                </c:pt>
                <c:pt idx="483">
                  <c:v>337.77567968385</c:v>
                </c:pt>
                <c:pt idx="484">
                  <c:v>323.42292312762601</c:v>
                </c:pt>
                <c:pt idx="485">
                  <c:v>308.425413835477</c:v>
                </c:pt>
                <c:pt idx="486">
                  <c:v>336.01896208452098</c:v>
                </c:pt>
                <c:pt idx="487">
                  <c:v>336.04699481216898</c:v>
                </c:pt>
                <c:pt idx="488">
                  <c:v>335.26207843800103</c:v>
                </c:pt>
                <c:pt idx="489">
                  <c:v>358.56661935676601</c:v>
                </c:pt>
                <c:pt idx="490">
                  <c:v>368.86397464645302</c:v>
                </c:pt>
                <c:pt idx="491">
                  <c:v>380.338704497393</c:v>
                </c:pt>
                <c:pt idx="492">
                  <c:v>388.60835915381102</c:v>
                </c:pt>
                <c:pt idx="493">
                  <c:v>404.26930966698302</c:v>
                </c:pt>
                <c:pt idx="494">
                  <c:v>431.08728578440702</c:v>
                </c:pt>
                <c:pt idx="495">
                  <c:v>438.87103982824499</c:v>
                </c:pt>
                <c:pt idx="496">
                  <c:v>420.20124321409401</c:v>
                </c:pt>
                <c:pt idx="497">
                  <c:v>440.73988833816998</c:v>
                </c:pt>
                <c:pt idx="498">
                  <c:v>478.85505369809101</c:v>
                </c:pt>
                <c:pt idx="499">
                  <c:v>526.06216705879694</c:v>
                </c:pt>
                <c:pt idx="500">
                  <c:v>587.28564424394096</c:v>
                </c:pt>
                <c:pt idx="501">
                  <c:v>637.09045703344395</c:v>
                </c:pt>
                <c:pt idx="502">
                  <c:v>678.97135214086404</c:v>
                </c:pt>
                <c:pt idx="503">
                  <c:v>799.97929315851002</c:v>
                </c:pt>
                <c:pt idx="504">
                  <c:v>950.65520427121498</c:v>
                </c:pt>
                <c:pt idx="505">
                  <c:v>1086.63262185336</c:v>
                </c:pt>
                <c:pt idx="506">
                  <c:v>1229.0949437649399</c:v>
                </c:pt>
                <c:pt idx="507">
                  <c:v>1354.26107271717</c:v>
                </c:pt>
                <c:pt idx="508">
                  <c:v>1438.95728718697</c:v>
                </c:pt>
                <c:pt idx="509">
                  <c:v>1491.7989788051</c:v>
                </c:pt>
                <c:pt idx="510">
                  <c:v>1586.0356649180701</c:v>
                </c:pt>
                <c:pt idx="511">
                  <c:v>1690.06511722305</c:v>
                </c:pt>
                <c:pt idx="512">
                  <c:v>1958.06733778885</c:v>
                </c:pt>
                <c:pt idx="513">
                  <c:v>2031.6439036245999</c:v>
                </c:pt>
                <c:pt idx="514">
                  <c:v>2224.5931680318099</c:v>
                </c:pt>
                <c:pt idx="515">
                  <c:v>2223.9110383256898</c:v>
                </c:pt>
                <c:pt idx="516">
                  <c:v>2327.07147607355</c:v>
                </c:pt>
                <c:pt idx="517">
                  <c:v>2319.2223123318599</c:v>
                </c:pt>
                <c:pt idx="518">
                  <c:v>2483.6716369627202</c:v>
                </c:pt>
                <c:pt idx="519">
                  <c:v>2377.4369434160299</c:v>
                </c:pt>
                <c:pt idx="520">
                  <c:v>2404.27360801855</c:v>
                </c:pt>
                <c:pt idx="521">
                  <c:v>2230.7977450847602</c:v>
                </c:pt>
                <c:pt idx="522">
                  <c:v>2284.2281239835202</c:v>
                </c:pt>
                <c:pt idx="523">
                  <c:v>2145.2605487854898</c:v>
                </c:pt>
                <c:pt idx="524">
                  <c:v>2145.8212033384698</c:v>
                </c:pt>
                <c:pt idx="525">
                  <c:v>1962.7955245189601</c:v>
                </c:pt>
                <c:pt idx="526">
                  <c:v>1829.3597409103099</c:v>
                </c:pt>
                <c:pt idx="527">
                  <c:v>1689.0279063000401</c:v>
                </c:pt>
                <c:pt idx="528">
                  <c:v>1627.6175442639101</c:v>
                </c:pt>
                <c:pt idx="529">
                  <c:v>1505.6845232338501</c:v>
                </c:pt>
                <c:pt idx="530">
                  <c:v>1488.1640684532999</c:v>
                </c:pt>
                <c:pt idx="531">
                  <c:v>1393.3760720298999</c:v>
                </c:pt>
                <c:pt idx="532">
                  <c:v>1305.88592903776</c:v>
                </c:pt>
                <c:pt idx="533">
                  <c:v>1193.2037081318299</c:v>
                </c:pt>
                <c:pt idx="534">
                  <c:v>1126.44843935731</c:v>
                </c:pt>
                <c:pt idx="535">
                  <c:v>1048.2838504296899</c:v>
                </c:pt>
                <c:pt idx="536">
                  <c:v>1022.72734705647</c:v>
                </c:pt>
                <c:pt idx="537">
                  <c:v>995.44215881156902</c:v>
                </c:pt>
                <c:pt idx="538">
                  <c:v>939.19916290537503</c:v>
                </c:pt>
                <c:pt idx="539">
                  <c:v>807.58550659390403</c:v>
                </c:pt>
                <c:pt idx="540">
                  <c:v>753.65053859746797</c:v>
                </c:pt>
                <c:pt idx="541">
                  <c:v>702.28523730217796</c:v>
                </c:pt>
                <c:pt idx="542">
                  <c:v>658.86254217406997</c:v>
                </c:pt>
                <c:pt idx="543">
                  <c:v>634.29652851110598</c:v>
                </c:pt>
                <c:pt idx="544">
                  <c:v>625.45687505915998</c:v>
                </c:pt>
                <c:pt idx="545">
                  <c:v>594.518087977351</c:v>
                </c:pt>
                <c:pt idx="546">
                  <c:v>570.40994219931804</c:v>
                </c:pt>
                <c:pt idx="547">
                  <c:v>549.45080616050905</c:v>
                </c:pt>
                <c:pt idx="548">
                  <c:v>531.22018894618998</c:v>
                </c:pt>
                <c:pt idx="549">
                  <c:v>523.128074898215</c:v>
                </c:pt>
                <c:pt idx="550">
                  <c:v>513.55022628484903</c:v>
                </c:pt>
                <c:pt idx="551">
                  <c:v>482.471275564795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PROC_JIP_v_den_pozitivity_7dni_z_POZ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53</c:f>
              <c:numCache>
                <c:formatCode>m/d/yyyy</c:formatCode>
                <c:ptCount val="55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</c:numCache>
            </c:numRef>
          </c:cat>
          <c:val>
            <c:numRef>
              <c:f>Sheet1!$B$2:$B$553</c:f>
              <c:numCache>
                <c:formatCode>0.0%</c:formatCode>
                <c:ptCount val="552"/>
                <c:pt idx="0">
                  <c:v>5.6413338621799998</c:v>
                </c:pt>
                <c:pt idx="1">
                  <c:v>6.1446251832999996</c:v>
                </c:pt>
                <c:pt idx="2">
                  <c:v>6.7589597326200002</c:v>
                </c:pt>
                <c:pt idx="3">
                  <c:v>2.1111111124800002</c:v>
                </c:pt>
                <c:pt idx="4">
                  <c:v>2.3557138959000001</c:v>
                </c:pt>
                <c:pt idx="5">
                  <c:v>2.6629668780400002</c:v>
                </c:pt>
                <c:pt idx="6">
                  <c:v>0.41911225268000002</c:v>
                </c:pt>
                <c:pt idx="7">
                  <c:v>-7.4455899170000006E-2</c:v>
                </c:pt>
                <c:pt idx="8">
                  <c:v>-0.18352725891999999</c:v>
                </c:pt>
                <c:pt idx="9">
                  <c:v>-0.25426849687000003</c:v>
                </c:pt>
                <c:pt idx="10">
                  <c:v>-0.30169713452000002</c:v>
                </c:pt>
                <c:pt idx="11">
                  <c:v>-0.50548876121999997</c:v>
                </c:pt>
                <c:pt idx="12">
                  <c:v>-0.49097472943999998</c:v>
                </c:pt>
                <c:pt idx="13">
                  <c:v>-0.32099999996</c:v>
                </c:pt>
                <c:pt idx="14">
                  <c:v>5.1447587410000002E-2</c:v>
                </c:pt>
                <c:pt idx="15">
                  <c:v>-0.13622511405000001</c:v>
                </c:pt>
                <c:pt idx="16">
                  <c:v>-0.13887792283</c:v>
                </c:pt>
                <c:pt idx="17">
                  <c:v>5.2864314189999997E-2</c:v>
                </c:pt>
                <c:pt idx="18">
                  <c:v>7.1951891630000001E-2</c:v>
                </c:pt>
                <c:pt idx="19">
                  <c:v>0.41232155100000001</c:v>
                </c:pt>
                <c:pt idx="20">
                  <c:v>5.9730013390000003E-2</c:v>
                </c:pt>
                <c:pt idx="21">
                  <c:v>7.7861755320000003E-2</c:v>
                </c:pt>
                <c:pt idx="22">
                  <c:v>0.40167598974000002</c:v>
                </c:pt>
                <c:pt idx="23">
                  <c:v>0.71464134273000002</c:v>
                </c:pt>
                <c:pt idx="24">
                  <c:v>0.71519702312</c:v>
                </c:pt>
                <c:pt idx="25">
                  <c:v>0.51202734283999995</c:v>
                </c:pt>
                <c:pt idx="26">
                  <c:v>0.27625281485999997</c:v>
                </c:pt>
                <c:pt idx="27">
                  <c:v>0.53317508120000001</c:v>
                </c:pt>
                <c:pt idx="28">
                  <c:v>0.35585375833999999</c:v>
                </c:pt>
                <c:pt idx="29">
                  <c:v>0.10756902703</c:v>
                </c:pt>
                <c:pt idx="30">
                  <c:v>7.2243462300000004E-3</c:v>
                </c:pt>
                <c:pt idx="31">
                  <c:v>4.8077999029999999E-2</c:v>
                </c:pt>
                <c:pt idx="32">
                  <c:v>0.12550822091</c:v>
                </c:pt>
                <c:pt idx="33">
                  <c:v>6.7265493080000002E-2</c:v>
                </c:pt>
                <c:pt idx="34">
                  <c:v>0.16717840495</c:v>
                </c:pt>
                <c:pt idx="35">
                  <c:v>0.20709232647</c:v>
                </c:pt>
                <c:pt idx="36">
                  <c:v>0.33205736433999999</c:v>
                </c:pt>
                <c:pt idx="37">
                  <c:v>0.22260803921</c:v>
                </c:pt>
                <c:pt idx="38">
                  <c:v>0.12059146632999999</c:v>
                </c:pt>
                <c:pt idx="39">
                  <c:v>0.12184752761000001</c:v>
                </c:pt>
                <c:pt idx="40">
                  <c:v>-4.24332854E-2</c:v>
                </c:pt>
                <c:pt idx="41">
                  <c:v>-0.10013462633</c:v>
                </c:pt>
                <c:pt idx="42">
                  <c:v>-0.19837687342999999</c:v>
                </c:pt>
                <c:pt idx="43">
                  <c:v>-0.25126696353</c:v>
                </c:pt>
                <c:pt idx="44">
                  <c:v>-0.23340404696</c:v>
                </c:pt>
                <c:pt idx="45">
                  <c:v>-0.23462139175999999</c:v>
                </c:pt>
                <c:pt idx="46">
                  <c:v>-0.32945864804000002</c:v>
                </c:pt>
                <c:pt idx="47">
                  <c:v>-0.24802814076999999</c:v>
                </c:pt>
                <c:pt idx="48">
                  <c:v>-0.14641534766</c:v>
                </c:pt>
                <c:pt idx="49">
                  <c:v>-9.1584683580000006E-2</c:v>
                </c:pt>
                <c:pt idx="50">
                  <c:v>-6.1301471490000002E-2</c:v>
                </c:pt>
                <c:pt idx="51">
                  <c:v>-6.4838256869999999E-2</c:v>
                </c:pt>
                <c:pt idx="52">
                  <c:v>-2.6708065119999999E-2</c:v>
                </c:pt>
                <c:pt idx="53">
                  <c:v>-1.4246517600000001E-3</c:v>
                </c:pt>
                <c:pt idx="54">
                  <c:v>-3.6150534679999999E-2</c:v>
                </c:pt>
                <c:pt idx="55">
                  <c:v>1.354514687E-2</c:v>
                </c:pt>
                <c:pt idx="56">
                  <c:v>6.8816703290000003E-2</c:v>
                </c:pt>
                <c:pt idx="57">
                  <c:v>5.0173923939999997E-2</c:v>
                </c:pt>
                <c:pt idx="58">
                  <c:v>0.17420061524</c:v>
                </c:pt>
                <c:pt idx="59">
                  <c:v>0.16420218891999999</c:v>
                </c:pt>
                <c:pt idx="60">
                  <c:v>0.1714143447</c:v>
                </c:pt>
                <c:pt idx="61">
                  <c:v>0.10398652607</c:v>
                </c:pt>
                <c:pt idx="62">
                  <c:v>9.1760685519999996E-2</c:v>
                </c:pt>
                <c:pt idx="63">
                  <c:v>9.6335362019999995E-2</c:v>
                </c:pt>
                <c:pt idx="64">
                  <c:v>1.0090217970000001E-2</c:v>
                </c:pt>
                <c:pt idx="65">
                  <c:v>-4.7402707709999999E-2</c:v>
                </c:pt>
                <c:pt idx="66">
                  <c:v>-2.5993115090000001E-2</c:v>
                </c:pt>
                <c:pt idx="67">
                  <c:v>1.5734827400000002E-2</c:v>
                </c:pt>
                <c:pt idx="68">
                  <c:v>-6.0595561799999999E-3</c:v>
                </c:pt>
                <c:pt idx="69">
                  <c:v>-7.7330533869999996E-2</c:v>
                </c:pt>
                <c:pt idx="70">
                  <c:v>-2.7535206000000001E-4</c:v>
                </c:pt>
                <c:pt idx="71">
                  <c:v>0.14215279708</c:v>
                </c:pt>
                <c:pt idx="72">
                  <c:v>9.7281084379999994E-2</c:v>
                </c:pt>
                <c:pt idx="73">
                  <c:v>4.6641066279999997E-2</c:v>
                </c:pt>
                <c:pt idx="74">
                  <c:v>7.1393936359999993E-2</c:v>
                </c:pt>
                <c:pt idx="75">
                  <c:v>0.17157542550999999</c:v>
                </c:pt>
                <c:pt idx="76">
                  <c:v>0.15032257696000001</c:v>
                </c:pt>
                <c:pt idx="77">
                  <c:v>-8.0758418000000001E-4</c:v>
                </c:pt>
                <c:pt idx="78">
                  <c:v>3.2433510479999997E-2</c:v>
                </c:pt>
                <c:pt idx="79">
                  <c:v>0.12604350682000001</c:v>
                </c:pt>
                <c:pt idx="80">
                  <c:v>8.3102743909999999E-2</c:v>
                </c:pt>
                <c:pt idx="81">
                  <c:v>0.12534391313000001</c:v>
                </c:pt>
                <c:pt idx="82">
                  <c:v>0.11767573688000001</c:v>
                </c:pt>
                <c:pt idx="83">
                  <c:v>4.4206854730000002E-2</c:v>
                </c:pt>
                <c:pt idx="84">
                  <c:v>-1.5268466100000001E-3</c:v>
                </c:pt>
                <c:pt idx="85">
                  <c:v>-4.5457430010000001E-2</c:v>
                </c:pt>
                <c:pt idx="86">
                  <c:v>-3.4564281459999999E-2</c:v>
                </c:pt>
                <c:pt idx="87">
                  <c:v>-1.0268800870000001E-2</c:v>
                </c:pt>
                <c:pt idx="88">
                  <c:v>-9.9762263640000001E-2</c:v>
                </c:pt>
                <c:pt idx="89">
                  <c:v>-2.5220342489999999E-2</c:v>
                </c:pt>
                <c:pt idx="90">
                  <c:v>5.4063192750000003E-2</c:v>
                </c:pt>
                <c:pt idx="91">
                  <c:v>2.8804839249999999E-2</c:v>
                </c:pt>
                <c:pt idx="92">
                  <c:v>1.521043016E-2</c:v>
                </c:pt>
                <c:pt idx="93">
                  <c:v>-1.179673319E-2</c:v>
                </c:pt>
                <c:pt idx="94">
                  <c:v>8.6256826920000002E-2</c:v>
                </c:pt>
                <c:pt idx="95">
                  <c:v>8.4149510169999997E-2</c:v>
                </c:pt>
                <c:pt idx="96">
                  <c:v>4.8718064800000002E-2</c:v>
                </c:pt>
                <c:pt idx="97">
                  <c:v>3.6244443850000002E-2</c:v>
                </c:pt>
                <c:pt idx="98">
                  <c:v>8.66824276E-2</c:v>
                </c:pt>
                <c:pt idx="99">
                  <c:v>-4.6246628040000001E-2</c:v>
                </c:pt>
                <c:pt idx="100">
                  <c:v>-0.10709617490999999</c:v>
                </c:pt>
                <c:pt idx="101">
                  <c:v>-0.19839678566999999</c:v>
                </c:pt>
                <c:pt idx="102">
                  <c:v>-0.20499250325999999</c:v>
                </c:pt>
                <c:pt idx="103">
                  <c:v>-0.19467880189</c:v>
                </c:pt>
                <c:pt idx="104">
                  <c:v>-0.18577001032000001</c:v>
                </c:pt>
                <c:pt idx="105">
                  <c:v>-0.18047023062000001</c:v>
                </c:pt>
                <c:pt idx="106">
                  <c:v>-0.18684632156</c:v>
                </c:pt>
                <c:pt idx="107">
                  <c:v>-0.13672491197</c:v>
                </c:pt>
                <c:pt idx="108">
                  <c:v>-0.16567175229</c:v>
                </c:pt>
                <c:pt idx="109">
                  <c:v>-0.20924263738000001</c:v>
                </c:pt>
                <c:pt idx="110">
                  <c:v>-0.25994805551</c:v>
                </c:pt>
                <c:pt idx="111">
                  <c:v>-0.28703608066000003</c:v>
                </c:pt>
                <c:pt idx="112">
                  <c:v>-0.29047186935000002</c:v>
                </c:pt>
                <c:pt idx="113">
                  <c:v>-0.22190316099999999</c:v>
                </c:pt>
                <c:pt idx="114">
                  <c:v>-0.20585144608</c:v>
                </c:pt>
                <c:pt idx="115">
                  <c:v>-2.617607747E-2</c:v>
                </c:pt>
                <c:pt idx="116">
                  <c:v>8.0524659289999995E-2</c:v>
                </c:pt>
                <c:pt idx="117">
                  <c:v>0.32305387344999997</c:v>
                </c:pt>
                <c:pt idx="118">
                  <c:v>0.54150513577000003</c:v>
                </c:pt>
                <c:pt idx="119">
                  <c:v>0.52383306948999997</c:v>
                </c:pt>
                <c:pt idx="120">
                  <c:v>0.45803572798999997</c:v>
                </c:pt>
                <c:pt idx="121">
                  <c:v>0.17639401056000001</c:v>
                </c:pt>
                <c:pt idx="122">
                  <c:v>4.942583834E-2</c:v>
                </c:pt>
                <c:pt idx="123">
                  <c:v>-3.2857630899999997E-2</c:v>
                </c:pt>
                <c:pt idx="124">
                  <c:v>-0.15308818690000001</c:v>
                </c:pt>
                <c:pt idx="125">
                  <c:v>-0.23976164280000001</c:v>
                </c:pt>
                <c:pt idx="126">
                  <c:v>-0.21275530871000001</c:v>
                </c:pt>
                <c:pt idx="127">
                  <c:v>-0.1588013711</c:v>
                </c:pt>
                <c:pt idx="128">
                  <c:v>-0.16068121216</c:v>
                </c:pt>
                <c:pt idx="129">
                  <c:v>-0.19643543046</c:v>
                </c:pt>
                <c:pt idx="130">
                  <c:v>-0.16771884018</c:v>
                </c:pt>
                <c:pt idx="131">
                  <c:v>-0.10266774439</c:v>
                </c:pt>
                <c:pt idx="132">
                  <c:v>-9.1531694430000005E-2</c:v>
                </c:pt>
                <c:pt idx="133">
                  <c:v>-9.8995566219999998E-2</c:v>
                </c:pt>
                <c:pt idx="134">
                  <c:v>-2.4015367990000001E-2</c:v>
                </c:pt>
                <c:pt idx="135">
                  <c:v>0.17427099339999999</c:v>
                </c:pt>
                <c:pt idx="136">
                  <c:v>0.21638579916</c:v>
                </c:pt>
                <c:pt idx="137">
                  <c:v>0.17480620219000001</c:v>
                </c:pt>
                <c:pt idx="138">
                  <c:v>0.1500125444</c:v>
                </c:pt>
                <c:pt idx="139">
                  <c:v>0.23424490647999999</c:v>
                </c:pt>
                <c:pt idx="140">
                  <c:v>0.21906031753999999</c:v>
                </c:pt>
                <c:pt idx="141">
                  <c:v>0.10894600742</c:v>
                </c:pt>
                <c:pt idx="142">
                  <c:v>-4.2133080589999997E-2</c:v>
                </c:pt>
                <c:pt idx="143">
                  <c:v>2.2293017999999999E-4</c:v>
                </c:pt>
                <c:pt idx="144">
                  <c:v>8.4276401840000001E-2</c:v>
                </c:pt>
                <c:pt idx="145">
                  <c:v>2.7869414740000001E-2</c:v>
                </c:pt>
                <c:pt idx="146">
                  <c:v>9.9509013299999994E-3</c:v>
                </c:pt>
                <c:pt idx="147">
                  <c:v>-2.1811991579999999E-2</c:v>
                </c:pt>
                <c:pt idx="148">
                  <c:v>1.064213569E-2</c:v>
                </c:pt>
                <c:pt idx="149">
                  <c:v>3.3372939189999999E-2</c:v>
                </c:pt>
                <c:pt idx="150">
                  <c:v>3.7398526199999998E-3</c:v>
                </c:pt>
                <c:pt idx="151">
                  <c:v>1.433633921E-2</c:v>
                </c:pt>
                <c:pt idx="152">
                  <c:v>7.85372797E-3</c:v>
                </c:pt>
                <c:pt idx="153">
                  <c:v>1.076496307E-2</c:v>
                </c:pt>
                <c:pt idx="154">
                  <c:v>3.8874808759999997E-2</c:v>
                </c:pt>
                <c:pt idx="155">
                  <c:v>3.4914164120000001E-2</c:v>
                </c:pt>
                <c:pt idx="156">
                  <c:v>7.9612040169999995E-2</c:v>
                </c:pt>
                <c:pt idx="157">
                  <c:v>6.800642103E-2</c:v>
                </c:pt>
                <c:pt idx="158">
                  <c:v>3.7550749559999999E-2</c:v>
                </c:pt>
                <c:pt idx="159">
                  <c:v>-4.6497701299999996E-3</c:v>
                </c:pt>
                <c:pt idx="160">
                  <c:v>-1.379677071E-2</c:v>
                </c:pt>
                <c:pt idx="161">
                  <c:v>5.0716886760000003E-2</c:v>
                </c:pt>
                <c:pt idx="162">
                  <c:v>1.1027195470000001E-2</c:v>
                </c:pt>
                <c:pt idx="163">
                  <c:v>-5.4865603919999999E-2</c:v>
                </c:pt>
                <c:pt idx="164">
                  <c:v>-9.3906856750000003E-2</c:v>
                </c:pt>
                <c:pt idx="165">
                  <c:v>-0.14850736136000001</c:v>
                </c:pt>
                <c:pt idx="166">
                  <c:v>-2.7283549170000001E-2</c:v>
                </c:pt>
                <c:pt idx="167">
                  <c:v>-0.12090649786</c:v>
                </c:pt>
                <c:pt idx="168">
                  <c:v>-0.17823768933</c:v>
                </c:pt>
                <c:pt idx="169">
                  <c:v>-0.10323220558</c:v>
                </c:pt>
                <c:pt idx="170">
                  <c:v>-4.9080102039999997E-2</c:v>
                </c:pt>
                <c:pt idx="171">
                  <c:v>-1.8510904000000002E-2</c:v>
                </c:pt>
                <c:pt idx="172">
                  <c:v>1.9102567930000001E-2</c:v>
                </c:pt>
                <c:pt idx="173">
                  <c:v>4.8951054030000003E-2</c:v>
                </c:pt>
                <c:pt idx="174">
                  <c:v>9.0192910269999996E-2</c:v>
                </c:pt>
                <c:pt idx="175">
                  <c:v>-7.8870633999999998E-3</c:v>
                </c:pt>
                <c:pt idx="176">
                  <c:v>-5.5134861600000001E-2</c:v>
                </c:pt>
                <c:pt idx="177">
                  <c:v>-1.020270092E-2</c:v>
                </c:pt>
                <c:pt idx="178">
                  <c:v>-0.10966948619</c:v>
                </c:pt>
                <c:pt idx="179">
                  <c:v>-0.17096116679000001</c:v>
                </c:pt>
                <c:pt idx="180">
                  <c:v>-0.17710607936</c:v>
                </c:pt>
                <c:pt idx="181">
                  <c:v>-0.12228356878</c:v>
                </c:pt>
                <c:pt idx="182">
                  <c:v>-7.0813561880000001E-2</c:v>
                </c:pt>
                <c:pt idx="183">
                  <c:v>-9.0243522199999995E-2</c:v>
                </c:pt>
                <c:pt idx="184">
                  <c:v>-0.11463446842</c:v>
                </c:pt>
                <c:pt idx="185">
                  <c:v>1.0516291739999999E-2</c:v>
                </c:pt>
                <c:pt idx="186">
                  <c:v>1.7665278020000001E-2</c:v>
                </c:pt>
                <c:pt idx="187">
                  <c:v>-3.3831636310000003E-2</c:v>
                </c:pt>
                <c:pt idx="188">
                  <c:v>3.844242069E-2</c:v>
                </c:pt>
                <c:pt idx="189">
                  <c:v>3.9742510459999998E-2</c:v>
                </c:pt>
                <c:pt idx="190">
                  <c:v>7.6050253989999997E-2</c:v>
                </c:pt>
                <c:pt idx="191">
                  <c:v>0.10041805518999999</c:v>
                </c:pt>
                <c:pt idx="192">
                  <c:v>0.12110299249000001</c:v>
                </c:pt>
                <c:pt idx="193">
                  <c:v>0.17451061910999999</c:v>
                </c:pt>
                <c:pt idx="194">
                  <c:v>0.10462323756</c:v>
                </c:pt>
                <c:pt idx="195">
                  <c:v>0.10530188895000001</c:v>
                </c:pt>
                <c:pt idx="196">
                  <c:v>9.7483556629999996E-2</c:v>
                </c:pt>
                <c:pt idx="197">
                  <c:v>5.2513455780000003E-2</c:v>
                </c:pt>
                <c:pt idx="198">
                  <c:v>-4.7887521709999999E-2</c:v>
                </c:pt>
                <c:pt idx="199">
                  <c:v>-7.6179809550000005E-2</c:v>
                </c:pt>
                <c:pt idx="200">
                  <c:v>-7.8248076710000003E-2</c:v>
                </c:pt>
                <c:pt idx="201">
                  <c:v>-7.7132847539999994E-2</c:v>
                </c:pt>
                <c:pt idx="202">
                  <c:v>-4.998075473E-2</c:v>
                </c:pt>
                <c:pt idx="203">
                  <c:v>3.030455177E-2</c:v>
                </c:pt>
                <c:pt idx="204">
                  <c:v>9.2049728760000005E-2</c:v>
                </c:pt>
                <c:pt idx="205">
                  <c:v>0.24041218991999999</c:v>
                </c:pt>
                <c:pt idx="206">
                  <c:v>0.23361982541000001</c:v>
                </c:pt>
                <c:pt idx="207">
                  <c:v>0.28473596183</c:v>
                </c:pt>
                <c:pt idx="208">
                  <c:v>0.31366370411</c:v>
                </c:pt>
                <c:pt idx="209">
                  <c:v>0.13547075879000001</c:v>
                </c:pt>
                <c:pt idx="210">
                  <c:v>7.1698879569999999E-2</c:v>
                </c:pt>
                <c:pt idx="211">
                  <c:v>1.1964714390000001E-2</c:v>
                </c:pt>
                <c:pt idx="212">
                  <c:v>7.8126018499999998E-3</c:v>
                </c:pt>
                <c:pt idx="213">
                  <c:v>6.608033479E-2</c:v>
                </c:pt>
                <c:pt idx="214">
                  <c:v>7.7289169470000002E-2</c:v>
                </c:pt>
                <c:pt idx="215">
                  <c:v>9.4650712809999996E-2</c:v>
                </c:pt>
                <c:pt idx="216">
                  <c:v>0.15998489196999999</c:v>
                </c:pt>
                <c:pt idx="217">
                  <c:v>0.31982951460999998</c:v>
                </c:pt>
                <c:pt idx="218">
                  <c:v>0.32815266988000003</c:v>
                </c:pt>
                <c:pt idx="219">
                  <c:v>0.22653767946</c:v>
                </c:pt>
                <c:pt idx="220">
                  <c:v>0.10426954563</c:v>
                </c:pt>
                <c:pt idx="221">
                  <c:v>0.14984190387999999</c:v>
                </c:pt>
                <c:pt idx="222">
                  <c:v>0.17560109591</c:v>
                </c:pt>
                <c:pt idx="223">
                  <c:v>5.5156407480000003E-2</c:v>
                </c:pt>
                <c:pt idx="224">
                  <c:v>-4.3951038380000002E-2</c:v>
                </c:pt>
                <c:pt idx="225">
                  <c:v>3.409201177E-2</c:v>
                </c:pt>
                <c:pt idx="226">
                  <c:v>0.10862789358</c:v>
                </c:pt>
                <c:pt idx="227">
                  <c:v>0.11298249639000001</c:v>
                </c:pt>
                <c:pt idx="228">
                  <c:v>7.8304829830000006E-2</c:v>
                </c:pt>
                <c:pt idx="229">
                  <c:v>-1.5028460509999999E-2</c:v>
                </c:pt>
                <c:pt idx="230">
                  <c:v>-1.0504368579999999E-2</c:v>
                </c:pt>
                <c:pt idx="231">
                  <c:v>2.1618162610000002E-2</c:v>
                </c:pt>
                <c:pt idx="232">
                  <c:v>2.1904160799999998E-3</c:v>
                </c:pt>
                <c:pt idx="233">
                  <c:v>-1.876366376E-2</c:v>
                </c:pt>
                <c:pt idx="234">
                  <c:v>2.459998523E-2</c:v>
                </c:pt>
                <c:pt idx="235">
                  <c:v>2.0173283439999998E-2</c:v>
                </c:pt>
                <c:pt idx="236">
                  <c:v>0.10521659842</c:v>
                </c:pt>
                <c:pt idx="237">
                  <c:v>-3.6483853310000001E-2</c:v>
                </c:pt>
                <c:pt idx="238">
                  <c:v>-9.6717999329999998E-2</c:v>
                </c:pt>
                <c:pt idx="239">
                  <c:v>-2.164621161E-2</c:v>
                </c:pt>
                <c:pt idx="240">
                  <c:v>-4.3335467459999999E-2</c:v>
                </c:pt>
                <c:pt idx="241">
                  <c:v>-6.7146296950000003E-2</c:v>
                </c:pt>
                <c:pt idx="242">
                  <c:v>-0.14914054608999999</c:v>
                </c:pt>
                <c:pt idx="243">
                  <c:v>-0.13987686676</c:v>
                </c:pt>
                <c:pt idx="244">
                  <c:v>-0.11754831438</c:v>
                </c:pt>
                <c:pt idx="245">
                  <c:v>-8.3661647869999994E-2</c:v>
                </c:pt>
                <c:pt idx="246">
                  <c:v>-0.19055897996000001</c:v>
                </c:pt>
                <c:pt idx="247">
                  <c:v>-0.14751773705999999</c:v>
                </c:pt>
                <c:pt idx="248">
                  <c:v>1.6688740279999999E-2</c:v>
                </c:pt>
                <c:pt idx="249">
                  <c:v>0.14714095499999999</c:v>
                </c:pt>
                <c:pt idx="250">
                  <c:v>0.22858165658999999</c:v>
                </c:pt>
                <c:pt idx="251">
                  <c:v>7.4836733160000002E-2</c:v>
                </c:pt>
                <c:pt idx="252">
                  <c:v>0.15994383001000001</c:v>
                </c:pt>
                <c:pt idx="253">
                  <c:v>0.32395450976000001</c:v>
                </c:pt>
                <c:pt idx="254">
                  <c:v>0.24018175928999999</c:v>
                </c:pt>
                <c:pt idx="255">
                  <c:v>0.10978466206</c:v>
                </c:pt>
                <c:pt idx="256">
                  <c:v>2.100598197E-2</c:v>
                </c:pt>
                <c:pt idx="257">
                  <c:v>-0.12101615036</c:v>
                </c:pt>
                <c:pt idx="258">
                  <c:v>-0.11016092899</c:v>
                </c:pt>
                <c:pt idx="259">
                  <c:v>-0.17068755177</c:v>
                </c:pt>
                <c:pt idx="260">
                  <c:v>-0.20836647055999999</c:v>
                </c:pt>
                <c:pt idx="261">
                  <c:v>-0.24578538305</c:v>
                </c:pt>
                <c:pt idx="262">
                  <c:v>-0.14781469961999999</c:v>
                </c:pt>
                <c:pt idx="263">
                  <c:v>0.11829053131</c:v>
                </c:pt>
                <c:pt idx="264">
                  <c:v>0.17096062297</c:v>
                </c:pt>
                <c:pt idx="265">
                  <c:v>0.14000462734999999</c:v>
                </c:pt>
                <c:pt idx="266">
                  <c:v>0.10663240165</c:v>
                </c:pt>
                <c:pt idx="267">
                  <c:v>0.19050580439000001</c:v>
                </c:pt>
                <c:pt idx="268">
                  <c:v>0.16470104226999999</c:v>
                </c:pt>
                <c:pt idx="269">
                  <c:v>-8.3481190459999993E-2</c:v>
                </c:pt>
                <c:pt idx="270">
                  <c:v>-0.29730734380000001</c:v>
                </c:pt>
                <c:pt idx="271">
                  <c:v>-0.22746176900000001</c:v>
                </c:pt>
                <c:pt idx="272">
                  <c:v>-4.9261075999999999E-4</c:v>
                </c:pt>
                <c:pt idx="273">
                  <c:v>-1.6427822460000002E-2</c:v>
                </c:pt>
                <c:pt idx="274">
                  <c:v>-0.21001418208</c:v>
                </c:pt>
                <c:pt idx="275">
                  <c:v>-9.1555748419999999E-2</c:v>
                </c:pt>
                <c:pt idx="276">
                  <c:v>0.23177083327</c:v>
                </c:pt>
                <c:pt idx="277">
                  <c:v>3.6132969340000001E-2</c:v>
                </c:pt>
                <c:pt idx="278">
                  <c:v>-0.23267534652999999</c:v>
                </c:pt>
                <c:pt idx="279">
                  <c:v>-0.52651264401999998</c:v>
                </c:pt>
                <c:pt idx="280">
                  <c:v>-0.4107008956</c:v>
                </c:pt>
                <c:pt idx="281">
                  <c:v>-0.39980549253999997</c:v>
                </c:pt>
                <c:pt idx="282">
                  <c:v>-0.47937245801</c:v>
                </c:pt>
                <c:pt idx="283">
                  <c:v>-0.39097266382000001</c:v>
                </c:pt>
                <c:pt idx="284">
                  <c:v>-0.29310472789000003</c:v>
                </c:pt>
                <c:pt idx="285">
                  <c:v>-0.10083333336</c:v>
                </c:pt>
                <c:pt idx="286">
                  <c:v>0.25003790755999999</c:v>
                </c:pt>
                <c:pt idx="287">
                  <c:v>0.71741032385000003</c:v>
                </c:pt>
                <c:pt idx="288">
                  <c:v>1.1152900692700001</c:v>
                </c:pt>
                <c:pt idx="289">
                  <c:v>0.59371833861000001</c:v>
                </c:pt>
                <c:pt idx="290">
                  <c:v>0.96147798716999999</c:v>
                </c:pt>
                <c:pt idx="291">
                  <c:v>2.0605738577600001</c:v>
                </c:pt>
                <c:pt idx="292">
                  <c:v>1.40944676452</c:v>
                </c:pt>
                <c:pt idx="293">
                  <c:v>0.52062084253999996</c:v>
                </c:pt>
                <c:pt idx="294">
                  <c:v>0.26650062276999997</c:v>
                </c:pt>
                <c:pt idx="295">
                  <c:v>0.26214833781000002</c:v>
                </c:pt>
                <c:pt idx="296">
                  <c:v>0.33240223473000002</c:v>
                </c:pt>
                <c:pt idx="297">
                  <c:v>-0.32785714289000001</c:v>
                </c:pt>
                <c:pt idx="298">
                  <c:v>-0.61064824223000003</c:v>
                </c:pt>
                <c:pt idx="299">
                  <c:v>-0.78615457570000002</c:v>
                </c:pt>
                <c:pt idx="300">
                  <c:v>-0.56417910448999997</c:v>
                </c:pt>
                <c:pt idx="301">
                  <c:v>-0.50380710677999996</c:v>
                </c:pt>
                <c:pt idx="302">
                  <c:v>-0.47223587227000002</c:v>
                </c:pt>
                <c:pt idx="303">
                  <c:v>-0.20993227992999999</c:v>
                </c:pt>
                <c:pt idx="304">
                  <c:v>0.52826086941999995</c:v>
                </c:pt>
                <c:pt idx="305">
                  <c:v>1.8752556250300001</c:v>
                </c:pt>
                <c:pt idx="306">
                  <c:v>0.43385213995999999</c:v>
                </c:pt>
                <c:pt idx="307">
                  <c:v>0.179640719</c:v>
                </c:pt>
                <c:pt idx="308">
                  <c:v>-0.14315789483999999</c:v>
                </c:pt>
                <c:pt idx="309">
                  <c:v>-0.18864468854999999</c:v>
                </c:pt>
                <c:pt idx="310">
                  <c:v>-0.61049957667999999</c:v>
                </c:pt>
                <c:pt idx="311">
                  <c:v>-0.81192307696999999</c:v>
                </c:pt>
                <c:pt idx="312">
                  <c:v>-0.80792227213000001</c:v>
                </c:pt>
                <c:pt idx="313">
                  <c:v>-0.75919250196999999</c:v>
                </c:pt>
                <c:pt idx="314">
                  <c:v>-0.57749610846999999</c:v>
                </c:pt>
                <c:pt idx="315">
                  <c:v>-0.57451782611000002</c:v>
                </c:pt>
                <c:pt idx="316">
                  <c:v>-0.30076968645000002</c:v>
                </c:pt>
                <c:pt idx="317">
                  <c:v>1.3636363641</c:v>
                </c:pt>
                <c:pt idx="318">
                  <c:v>1.49471721674</c:v>
                </c:pt>
                <c:pt idx="319">
                  <c:v>1.5325623875000001</c:v>
                </c:pt>
                <c:pt idx="320">
                  <c:v>0.87141073659000001</c:v>
                </c:pt>
                <c:pt idx="321">
                  <c:v>1.1630847042700001</c:v>
                </c:pt>
                <c:pt idx="322">
                  <c:v>1.16677357361</c:v>
                </c:pt>
                <c:pt idx="323">
                  <c:v>7.5619295949999998E-2</c:v>
                </c:pt>
                <c:pt idx="324">
                  <c:v>5.4390563599999997E-2</c:v>
                </c:pt>
                <c:pt idx="325">
                  <c:v>0.49024943303000001</c:v>
                </c:pt>
                <c:pt idx="326">
                  <c:v>0.14428571439000001</c:v>
                </c:pt>
                <c:pt idx="327">
                  <c:v>-0.13013196498999999</c:v>
                </c:pt>
                <c:pt idx="328">
                  <c:v>-0.12872578233000001</c:v>
                </c:pt>
                <c:pt idx="329">
                  <c:v>0.18181818144</c:v>
                </c:pt>
                <c:pt idx="330">
                  <c:v>0.20537124796</c:v>
                </c:pt>
                <c:pt idx="331">
                  <c:v>-0.12569389387999999</c:v>
                </c:pt>
                <c:pt idx="332">
                  <c:v>0.15511551160000001</c:v>
                </c:pt>
                <c:pt idx="333">
                  <c:v>0.89129229123999998</c:v>
                </c:pt>
                <c:pt idx="334">
                  <c:v>0.86700055673999998</c:v>
                </c:pt>
                <c:pt idx="335">
                  <c:v>0.50362004087000001</c:v>
                </c:pt>
                <c:pt idx="336">
                  <c:v>1.2269129288</c:v>
                </c:pt>
                <c:pt idx="337">
                  <c:v>1.5697234356300001</c:v>
                </c:pt>
                <c:pt idx="338">
                  <c:v>0.64823209423999995</c:v>
                </c:pt>
                <c:pt idx="339">
                  <c:v>5.2539404370000001E-2</c:v>
                </c:pt>
                <c:pt idx="340">
                  <c:v>-0.18848433526</c:v>
                </c:pt>
                <c:pt idx="341">
                  <c:v>-4.9545829749999999E-2</c:v>
                </c:pt>
                <c:pt idx="342">
                  <c:v>-0.23217179897000001</c:v>
                </c:pt>
                <c:pt idx="343">
                  <c:v>-0.60836848714000002</c:v>
                </c:pt>
                <c:pt idx="344">
                  <c:v>-0.41824894512999999</c:v>
                </c:pt>
                <c:pt idx="345">
                  <c:v>-0.29123351427999999</c:v>
                </c:pt>
                <c:pt idx="346">
                  <c:v>-0.11402850723000001</c:v>
                </c:pt>
                <c:pt idx="347">
                  <c:v>-8.1880212499999994E-2</c:v>
                </c:pt>
                <c:pt idx="348">
                  <c:v>-4.2668735450000002E-2</c:v>
                </c:pt>
                <c:pt idx="349">
                  <c:v>0.57135691032000002</c:v>
                </c:pt>
                <c:pt idx="350">
                  <c:v>0.15497076016</c:v>
                </c:pt>
                <c:pt idx="351">
                  <c:v>-0.28758290347999999</c:v>
                </c:pt>
                <c:pt idx="352">
                  <c:v>-0.25000000008000001</c:v>
                </c:pt>
                <c:pt idx="353">
                  <c:v>0.28708040614000002</c:v>
                </c:pt>
                <c:pt idx="354">
                  <c:v>0.21412872848</c:v>
                </c:pt>
                <c:pt idx="355">
                  <c:v>1.9171779220000001E-2</c:v>
                </c:pt>
                <c:pt idx="356">
                  <c:v>5.0691244099999998E-2</c:v>
                </c:pt>
                <c:pt idx="357">
                  <c:v>1.1625498010399999</c:v>
                </c:pt>
                <c:pt idx="358">
                  <c:v>1.3999485599699999</c:v>
                </c:pt>
                <c:pt idx="359">
                  <c:v>0.33437500007999998</c:v>
                </c:pt>
                <c:pt idx="360">
                  <c:v>-0.37364798432000002</c:v>
                </c:pt>
                <c:pt idx="361">
                  <c:v>-0.42215657325</c:v>
                </c:pt>
                <c:pt idx="362">
                  <c:v>-0.41174698798999998</c:v>
                </c:pt>
                <c:pt idx="363">
                  <c:v>-0.69126691268999996</c:v>
                </c:pt>
                <c:pt idx="364">
                  <c:v>-0.86709055491999998</c:v>
                </c:pt>
                <c:pt idx="365">
                  <c:v>-0.86334519576000002</c:v>
                </c:pt>
                <c:pt idx="366">
                  <c:v>-0.77354709416</c:v>
                </c:pt>
                <c:pt idx="367">
                  <c:v>0.38957307058000001</c:v>
                </c:pt>
                <c:pt idx="368">
                  <c:v>0.30349430699000002</c:v>
                </c:pt>
                <c:pt idx="369">
                  <c:v>1.31228668946</c:v>
                </c:pt>
                <c:pt idx="370">
                  <c:v>4.1052356059599999</c:v>
                </c:pt>
                <c:pt idx="371">
                  <c:v>4.7425068132500003</c:v>
                </c:pt>
                <c:pt idx="372">
                  <c:v>4.1576227377699997</c:v>
                </c:pt>
                <c:pt idx="373">
                  <c:v>6.6666666809999997E-2</c:v>
                </c:pt>
                <c:pt idx="374">
                  <c:v>-0.20746791110999999</c:v>
                </c:pt>
                <c:pt idx="375">
                  <c:v>-0.32772466560000002</c:v>
                </c:pt>
                <c:pt idx="376">
                  <c:v>-0.47748536405999997</c:v>
                </c:pt>
                <c:pt idx="377">
                  <c:v>-0.27853544666000002</c:v>
                </c:pt>
                <c:pt idx="378">
                  <c:v>-2.7819129089999999E-2</c:v>
                </c:pt>
                <c:pt idx="379">
                  <c:v>-3.1283138799999999E-2</c:v>
                </c:pt>
                <c:pt idx="380">
                  <c:v>0.58650286095000004</c:v>
                </c:pt>
                <c:pt idx="381">
                  <c:v>0.46547859264000002</c:v>
                </c:pt>
                <c:pt idx="382">
                  <c:v>0.72628099152000003</c:v>
                </c:pt>
                <c:pt idx="383">
                  <c:v>0.21273569565</c:v>
                </c:pt>
                <c:pt idx="384">
                  <c:v>-0.21997242180000001</c:v>
                </c:pt>
                <c:pt idx="385">
                  <c:v>-0.49333763191000002</c:v>
                </c:pt>
                <c:pt idx="386">
                  <c:v>-0.47741197869000002</c:v>
                </c:pt>
                <c:pt idx="387">
                  <c:v>-0.40972543846999998</c:v>
                </c:pt>
                <c:pt idx="388">
                  <c:v>-0.31869369356999999</c:v>
                </c:pt>
                <c:pt idx="389">
                  <c:v>-0.21937739673000001</c:v>
                </c:pt>
                <c:pt idx="390">
                  <c:v>0.16408150860000001</c:v>
                </c:pt>
                <c:pt idx="391">
                  <c:v>1.1368541917999999</c:v>
                </c:pt>
                <c:pt idx="392">
                  <c:v>0.99905782058000003</c:v>
                </c:pt>
                <c:pt idx="393">
                  <c:v>1.25681224396</c:v>
                </c:pt>
                <c:pt idx="394">
                  <c:v>0.66084788045999998</c:v>
                </c:pt>
                <c:pt idx="395">
                  <c:v>0.41425401256</c:v>
                </c:pt>
                <c:pt idx="396">
                  <c:v>0.11081081082999999</c:v>
                </c:pt>
                <c:pt idx="397">
                  <c:v>-3.3510874609999998E-2</c:v>
                </c:pt>
                <c:pt idx="398">
                  <c:v>-5.5211984919999998E-2</c:v>
                </c:pt>
                <c:pt idx="399">
                  <c:v>0.13474209346999999</c:v>
                </c:pt>
                <c:pt idx="400">
                  <c:v>0.56807678634000003</c:v>
                </c:pt>
                <c:pt idx="401">
                  <c:v>0.60087574368999996</c:v>
                </c:pt>
                <c:pt idx="402">
                  <c:v>0.70981991171000003</c:v>
                </c:pt>
                <c:pt idx="403">
                  <c:v>0.75174941709999998</c:v>
                </c:pt>
                <c:pt idx="404">
                  <c:v>0.59044288582000004</c:v>
                </c:pt>
                <c:pt idx="405">
                  <c:v>0.20238802591999999</c:v>
                </c:pt>
                <c:pt idx="406">
                  <c:v>-0.23615691530999999</c:v>
                </c:pt>
                <c:pt idx="407">
                  <c:v>-0.42043142041999998</c:v>
                </c:pt>
                <c:pt idx="408">
                  <c:v>-0.34416852998000003</c:v>
                </c:pt>
                <c:pt idx="409">
                  <c:v>-0.36794023751999999</c:v>
                </c:pt>
                <c:pt idx="410">
                  <c:v>-0.38095445765000002</c:v>
                </c:pt>
                <c:pt idx="411">
                  <c:v>-0.40530893040999999</c:v>
                </c:pt>
                <c:pt idx="412">
                  <c:v>-0.34009114414000002</c:v>
                </c:pt>
                <c:pt idx="413">
                  <c:v>-0.28295128952999998</c:v>
                </c:pt>
                <c:pt idx="414">
                  <c:v>-0.37435575684</c:v>
                </c:pt>
                <c:pt idx="415">
                  <c:v>-0.50523524422999999</c:v>
                </c:pt>
                <c:pt idx="416">
                  <c:v>-0.51491432209999999</c:v>
                </c:pt>
                <c:pt idx="417">
                  <c:v>-0.51696367627999995</c:v>
                </c:pt>
                <c:pt idx="418">
                  <c:v>-0.34082656613000001</c:v>
                </c:pt>
                <c:pt idx="419">
                  <c:v>-6.852714637E-2</c:v>
                </c:pt>
                <c:pt idx="420">
                  <c:v>-5.4943276030000002E-2</c:v>
                </c:pt>
                <c:pt idx="421">
                  <c:v>0.15645174311000001</c:v>
                </c:pt>
                <c:pt idx="422">
                  <c:v>0.31468279821</c:v>
                </c:pt>
                <c:pt idx="423">
                  <c:v>0.27977846246999999</c:v>
                </c:pt>
                <c:pt idx="424">
                  <c:v>8.872304785E-2</c:v>
                </c:pt>
                <c:pt idx="425">
                  <c:v>-0.19233704533000001</c:v>
                </c:pt>
                <c:pt idx="426">
                  <c:v>-0.14835257351</c:v>
                </c:pt>
                <c:pt idx="427">
                  <c:v>1.9545555690000001E-2</c:v>
                </c:pt>
                <c:pt idx="428">
                  <c:v>-7.0449704210000005E-2</c:v>
                </c:pt>
                <c:pt idx="429">
                  <c:v>-0.10343488454999999</c:v>
                </c:pt>
                <c:pt idx="430">
                  <c:v>2.6127206499999998E-3</c:v>
                </c:pt>
                <c:pt idx="431">
                  <c:v>0.18618397128</c:v>
                </c:pt>
                <c:pt idx="432">
                  <c:v>0.32153361359999999</c:v>
                </c:pt>
                <c:pt idx="433">
                  <c:v>0.16226149903000001</c:v>
                </c:pt>
                <c:pt idx="434">
                  <c:v>0.10431039512</c:v>
                </c:pt>
                <c:pt idx="435">
                  <c:v>0.18767911139999999</c:v>
                </c:pt>
                <c:pt idx="436">
                  <c:v>0.16243980087000001</c:v>
                </c:pt>
                <c:pt idx="437">
                  <c:v>-4.340807168E-2</c:v>
                </c:pt>
                <c:pt idx="438">
                  <c:v>-0.16240764667999999</c:v>
                </c:pt>
                <c:pt idx="439">
                  <c:v>-0.17411508684999999</c:v>
                </c:pt>
                <c:pt idx="440">
                  <c:v>-0.13280401842</c:v>
                </c:pt>
                <c:pt idx="441">
                  <c:v>-0.23366668405999999</c:v>
                </c:pt>
                <c:pt idx="442">
                  <c:v>-0.29613507701000003</c:v>
                </c:pt>
                <c:pt idx="443">
                  <c:v>-0.18607770270999999</c:v>
                </c:pt>
                <c:pt idx="444">
                  <c:v>-0.15427120455000001</c:v>
                </c:pt>
                <c:pt idx="445">
                  <c:v>-0.16402794638000001</c:v>
                </c:pt>
                <c:pt idx="446">
                  <c:v>-0.12089892536999999</c:v>
                </c:pt>
                <c:pt idx="447">
                  <c:v>-2.3689332400000001E-3</c:v>
                </c:pt>
                <c:pt idx="448">
                  <c:v>0.14079588681999999</c:v>
                </c:pt>
                <c:pt idx="449">
                  <c:v>3.8551246880000001E-2</c:v>
                </c:pt>
                <c:pt idx="450">
                  <c:v>-1.6405485899999999E-2</c:v>
                </c:pt>
                <c:pt idx="451">
                  <c:v>4.7373013319999997E-2</c:v>
                </c:pt>
                <c:pt idx="452">
                  <c:v>4.7468348289999997E-2</c:v>
                </c:pt>
                <c:pt idx="453">
                  <c:v>-2.2416545879999999E-2</c:v>
                </c:pt>
                <c:pt idx="454">
                  <c:v>-0.14367298388999999</c:v>
                </c:pt>
                <c:pt idx="455">
                  <c:v>-0.17044901171999999</c:v>
                </c:pt>
                <c:pt idx="456">
                  <c:v>-5.6590993050000003E-2</c:v>
                </c:pt>
                <c:pt idx="457">
                  <c:v>-9.9225064880000005E-2</c:v>
                </c:pt>
                <c:pt idx="458">
                  <c:v>-0.18196327957</c:v>
                </c:pt>
                <c:pt idx="459">
                  <c:v>-0.15676514109</c:v>
                </c:pt>
                <c:pt idx="460">
                  <c:v>-0.11598652972</c:v>
                </c:pt>
                <c:pt idx="461">
                  <c:v>7.3692368700000004E-3</c:v>
                </c:pt>
                <c:pt idx="462">
                  <c:v>-2.809169211E-2</c:v>
                </c:pt>
                <c:pt idx="463">
                  <c:v>-7.5169439640000002E-2</c:v>
                </c:pt>
                <c:pt idx="464">
                  <c:v>-1.1455560510000001E-2</c:v>
                </c:pt>
                <c:pt idx="465">
                  <c:v>8.5583715350000006E-2</c:v>
                </c:pt>
                <c:pt idx="466">
                  <c:v>6.8230630240000006E-2</c:v>
                </c:pt>
                <c:pt idx="467">
                  <c:v>3.8377573800000002E-2</c:v>
                </c:pt>
                <c:pt idx="468">
                  <c:v>-5.6568820190000001E-2</c:v>
                </c:pt>
                <c:pt idx="469">
                  <c:v>7.4419637819999995E-2</c:v>
                </c:pt>
                <c:pt idx="470">
                  <c:v>0.19824816008999999</c:v>
                </c:pt>
                <c:pt idx="471">
                  <c:v>0.16764710077</c:v>
                </c:pt>
                <c:pt idx="472">
                  <c:v>0.19513767647999999</c:v>
                </c:pt>
                <c:pt idx="473">
                  <c:v>0.14880850297000001</c:v>
                </c:pt>
                <c:pt idx="474">
                  <c:v>0.20233225349</c:v>
                </c:pt>
                <c:pt idx="475">
                  <c:v>0.23428922835999999</c:v>
                </c:pt>
                <c:pt idx="476">
                  <c:v>0.13826554671999999</c:v>
                </c:pt>
                <c:pt idx="477">
                  <c:v>5.8843978089999999E-2</c:v>
                </c:pt>
                <c:pt idx="478">
                  <c:v>9.6104012360000005E-2</c:v>
                </c:pt>
                <c:pt idx="479">
                  <c:v>0.23149327734</c:v>
                </c:pt>
                <c:pt idx="480">
                  <c:v>0.48525883615999998</c:v>
                </c:pt>
                <c:pt idx="481">
                  <c:v>0.41695569832000001</c:v>
                </c:pt>
                <c:pt idx="482">
                  <c:v>0.36255730260000002</c:v>
                </c:pt>
                <c:pt idx="483">
                  <c:v>0.59943769228999999</c:v>
                </c:pt>
                <c:pt idx="484">
                  <c:v>0.67563526342000002</c:v>
                </c:pt>
                <c:pt idx="485">
                  <c:v>0.51045976527000003</c:v>
                </c:pt>
                <c:pt idx="486">
                  <c:v>0.21958166097000001</c:v>
                </c:pt>
                <c:pt idx="487">
                  <c:v>0.19921948778000001</c:v>
                </c:pt>
                <c:pt idx="488">
                  <c:v>0.20297059073000001</c:v>
                </c:pt>
                <c:pt idx="489">
                  <c:v>-0.10629201779</c:v>
                </c:pt>
                <c:pt idx="490">
                  <c:v>-0.32442654093000001</c:v>
                </c:pt>
                <c:pt idx="491">
                  <c:v>-0.41277987646999997</c:v>
                </c:pt>
                <c:pt idx="492">
                  <c:v>-0.43323987288999999</c:v>
                </c:pt>
                <c:pt idx="493">
                  <c:v>-0.46854803762000002</c:v>
                </c:pt>
                <c:pt idx="494">
                  <c:v>-0.53464728922000004</c:v>
                </c:pt>
                <c:pt idx="495">
                  <c:v>-0.4774013265</c:v>
                </c:pt>
                <c:pt idx="496">
                  <c:v>-0.34629908172000001</c:v>
                </c:pt>
                <c:pt idx="497">
                  <c:v>-0.28087080681999999</c:v>
                </c:pt>
                <c:pt idx="498">
                  <c:v>-0.26129368939999997</c:v>
                </c:pt>
                <c:pt idx="499">
                  <c:v>-0.32018899444999999</c:v>
                </c:pt>
                <c:pt idx="500">
                  <c:v>-0.30618759604000001</c:v>
                </c:pt>
                <c:pt idx="501">
                  <c:v>-0.39845355556000001</c:v>
                </c:pt>
                <c:pt idx="502">
                  <c:v>-0.49605551364</c:v>
                </c:pt>
                <c:pt idx="503">
                  <c:v>-0.52776646801000004</c:v>
                </c:pt>
                <c:pt idx="504">
                  <c:v>-0.61689620331999995</c:v>
                </c:pt>
                <c:pt idx="505">
                  <c:v>-0.60708983330999999</c:v>
                </c:pt>
                <c:pt idx="506">
                  <c:v>-0.57757978107999997</c:v>
                </c:pt>
                <c:pt idx="507">
                  <c:v>-0.53715364304000002</c:v>
                </c:pt>
                <c:pt idx="508">
                  <c:v>-0.41225757484999997</c:v>
                </c:pt>
                <c:pt idx="509">
                  <c:v>-0.29393565499000002</c:v>
                </c:pt>
                <c:pt idx="510">
                  <c:v>-6.7614293440000001E-2</c:v>
                </c:pt>
                <c:pt idx="511">
                  <c:v>3.3317498369999997E-2</c:v>
                </c:pt>
                <c:pt idx="512">
                  <c:v>-2.2421641539999999E-2</c:v>
                </c:pt>
                <c:pt idx="513">
                  <c:v>0.10368806127000001</c:v>
                </c:pt>
                <c:pt idx="514">
                  <c:v>2.1474832E-3</c:v>
                </c:pt>
                <c:pt idx="515">
                  <c:v>-4.0501617560000001E-2</c:v>
                </c:pt>
                <c:pt idx="516">
                  <c:v>-5.0686183330000002E-2</c:v>
                </c:pt>
                <c:pt idx="517">
                  <c:v>4.0150725600000001E-3</c:v>
                </c:pt>
                <c:pt idx="518">
                  <c:v>0.12862261620000001</c:v>
                </c:pt>
                <c:pt idx="519">
                  <c:v>0.22683232588999999</c:v>
                </c:pt>
                <c:pt idx="520">
                  <c:v>0.27013818350000002</c:v>
                </c:pt>
                <c:pt idx="521">
                  <c:v>0.2615800365</c:v>
                </c:pt>
                <c:pt idx="522">
                  <c:v>0.32351227784999997</c:v>
                </c:pt>
                <c:pt idx="523">
                  <c:v>0.29033466505</c:v>
                </c:pt>
                <c:pt idx="524">
                  <c:v>0.23404142742</c:v>
                </c:pt>
                <c:pt idx="525">
                  <c:v>8.5948672000000004E-2</c:v>
                </c:pt>
                <c:pt idx="526">
                  <c:v>0.19241763889999999</c:v>
                </c:pt>
                <c:pt idx="527">
                  <c:v>0.28381407984000001</c:v>
                </c:pt>
                <c:pt idx="528">
                  <c:v>0.36648616717999999</c:v>
                </c:pt>
                <c:pt idx="529">
                  <c:v>0.29962516759000002</c:v>
                </c:pt>
                <c:pt idx="530">
                  <c:v>0.35242635124999999</c:v>
                </c:pt>
                <c:pt idx="531">
                  <c:v>0.48451272826000003</c:v>
                </c:pt>
                <c:pt idx="532">
                  <c:v>0.4826591093</c:v>
                </c:pt>
                <c:pt idx="533">
                  <c:v>0.46645899267000002</c:v>
                </c:pt>
                <c:pt idx="534">
                  <c:v>0.3472817158</c:v>
                </c:pt>
                <c:pt idx="535">
                  <c:v>0.34057732118</c:v>
                </c:pt>
                <c:pt idx="536">
                  <c:v>0.32670303428000003</c:v>
                </c:pt>
                <c:pt idx="537">
                  <c:v>0.37948812169000001</c:v>
                </c:pt>
                <c:pt idx="538">
                  <c:v>0.26667434906999998</c:v>
                </c:pt>
                <c:pt idx="539">
                  <c:v>0.44699431918999999</c:v>
                </c:pt>
                <c:pt idx="540">
                  <c:v>0.44182161861000002</c:v>
                </c:pt>
                <c:pt idx="541">
                  <c:v>0.58257316184999997</c:v>
                </c:pt>
                <c:pt idx="542">
                  <c:v>0.55240391474999995</c:v>
                </c:pt>
                <c:pt idx="543">
                  <c:v>0.48043326982000001</c:v>
                </c:pt>
                <c:pt idx="544">
                  <c:v>0.38289772206</c:v>
                </c:pt>
                <c:pt idx="545">
                  <c:v>0.11403181194000001</c:v>
                </c:pt>
                <c:pt idx="546">
                  <c:v>9.7798068700000004E-2</c:v>
                </c:pt>
                <c:pt idx="547">
                  <c:v>-7.5374677070000007E-2</c:v>
                </c:pt>
                <c:pt idx="548">
                  <c:v>-0.19112079832000001</c:v>
                </c:pt>
                <c:pt idx="549">
                  <c:v>-0.23420601402999999</c:v>
                </c:pt>
                <c:pt idx="550">
                  <c:v>-0.26735228222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975-4E54-8379-48514118E2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  <c:max val="2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PROC_HOSP_JIP_v_den_pozitivity_7dni_z_HOSP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53</c:f>
              <c:numCache>
                <c:formatCode>m/d/yyyy</c:formatCode>
                <c:ptCount val="55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</c:numCache>
            </c:numRef>
          </c:cat>
          <c:val>
            <c:numRef>
              <c:f>Sheet1!$B$2:$B$553</c:f>
              <c:numCache>
                <c:formatCode>0.0%</c:formatCode>
                <c:ptCount val="552"/>
                <c:pt idx="0">
                  <c:v>6.8702290075999997E-2</c:v>
                </c:pt>
                <c:pt idx="1">
                  <c:v>7.4074074074000004E-2</c:v>
                </c:pt>
                <c:pt idx="2">
                  <c:v>0.08</c:v>
                </c:pt>
                <c:pt idx="3">
                  <c:v>9.3167701862999996E-2</c:v>
                </c:pt>
                <c:pt idx="4">
                  <c:v>7.8212290502000001E-2</c:v>
                </c:pt>
                <c:pt idx="5">
                  <c:v>9.2391304347000006E-2</c:v>
                </c:pt>
                <c:pt idx="6">
                  <c:v>8.2125603864000002E-2</c:v>
                </c:pt>
                <c:pt idx="7">
                  <c:v>7.0093457942999995E-2</c:v>
                </c:pt>
                <c:pt idx="8">
                  <c:v>7.8512396693999995E-2</c:v>
                </c:pt>
                <c:pt idx="9">
                  <c:v>7.4688796680000002E-2</c:v>
                </c:pt>
                <c:pt idx="10">
                  <c:v>6.0606060606000003E-2</c:v>
                </c:pt>
                <c:pt idx="11">
                  <c:v>7.2519083969000003E-2</c:v>
                </c:pt>
                <c:pt idx="12">
                  <c:v>5.9027777777000003E-2</c:v>
                </c:pt>
                <c:pt idx="13">
                  <c:v>6.4406779661000002E-2</c:v>
                </c:pt>
                <c:pt idx="14">
                  <c:v>7.2254335259999997E-2</c:v>
                </c:pt>
                <c:pt idx="15">
                  <c:v>5.9139784946000001E-2</c:v>
                </c:pt>
                <c:pt idx="16">
                  <c:v>5.9322033897999997E-2</c:v>
                </c:pt>
                <c:pt idx="17">
                  <c:v>5.5888223552000002E-2</c:v>
                </c:pt>
                <c:pt idx="18">
                  <c:v>5.6985294116999999E-2</c:v>
                </c:pt>
                <c:pt idx="19">
                  <c:v>6.8222621184000007E-2</c:v>
                </c:pt>
                <c:pt idx="20">
                  <c:v>7.0491803278000004E-2</c:v>
                </c:pt>
                <c:pt idx="21">
                  <c:v>7.0643642071999996E-2</c:v>
                </c:pt>
                <c:pt idx="22">
                  <c:v>7.4074074074000004E-2</c:v>
                </c:pt>
                <c:pt idx="23">
                  <c:v>7.8873239435999998E-2</c:v>
                </c:pt>
                <c:pt idx="24">
                  <c:v>8.1686429512000003E-2</c:v>
                </c:pt>
                <c:pt idx="25">
                  <c:v>7.8381795195000006E-2</c:v>
                </c:pt>
                <c:pt idx="26">
                  <c:v>7.3027090693999999E-2</c:v>
                </c:pt>
                <c:pt idx="27">
                  <c:v>7.8199052131999999E-2</c:v>
                </c:pt>
                <c:pt idx="28">
                  <c:v>7.0118662351000005E-2</c:v>
                </c:pt>
                <c:pt idx="29">
                  <c:v>6.6191446028000006E-2</c:v>
                </c:pt>
                <c:pt idx="30">
                  <c:v>6.7372473532000002E-2</c:v>
                </c:pt>
                <c:pt idx="31">
                  <c:v>6.6367713004000004E-2</c:v>
                </c:pt>
                <c:pt idx="32">
                  <c:v>7.6923076923000003E-2</c:v>
                </c:pt>
                <c:pt idx="33">
                  <c:v>8.1327800828999999E-2</c:v>
                </c:pt>
                <c:pt idx="34">
                  <c:v>7.3518915059999995E-2</c:v>
                </c:pt>
                <c:pt idx="35">
                  <c:v>8.0185553345999999E-2</c:v>
                </c:pt>
                <c:pt idx="36">
                  <c:v>8.5662211421000001E-2</c:v>
                </c:pt>
                <c:pt idx="37">
                  <c:v>7.9268292682000002E-2</c:v>
                </c:pt>
                <c:pt idx="38">
                  <c:v>8.0818414322000001E-2</c:v>
                </c:pt>
                <c:pt idx="39">
                  <c:v>7.5815738963000007E-2</c:v>
                </c:pt>
                <c:pt idx="40">
                  <c:v>7.3630924988000002E-2</c:v>
                </c:pt>
                <c:pt idx="41">
                  <c:v>7.0286195285999997E-2</c:v>
                </c:pt>
                <c:pt idx="42">
                  <c:v>6.5509076558000007E-2</c:v>
                </c:pt>
                <c:pt idx="43">
                  <c:v>6.0628195762999999E-2</c:v>
                </c:pt>
                <c:pt idx="44">
                  <c:v>6.1437001041E-2</c:v>
                </c:pt>
                <c:pt idx="45">
                  <c:v>6.1270557884000001E-2</c:v>
                </c:pt>
                <c:pt idx="46">
                  <c:v>5.6507363991000002E-2</c:v>
                </c:pt>
                <c:pt idx="47">
                  <c:v>5.6805399324999999E-2</c:v>
                </c:pt>
                <c:pt idx="48">
                  <c:v>5.6739477890000001E-2</c:v>
                </c:pt>
                <c:pt idx="49">
                  <c:v>5.6818181818000003E-2</c:v>
                </c:pt>
                <c:pt idx="50">
                  <c:v>5.6569754338000003E-2</c:v>
                </c:pt>
                <c:pt idx="51">
                  <c:v>5.5904522613000003E-2</c:v>
                </c:pt>
                <c:pt idx="52">
                  <c:v>5.1899725812000003E-2</c:v>
                </c:pt>
                <c:pt idx="53">
                  <c:v>5.4487179487E-2</c:v>
                </c:pt>
                <c:pt idx="54">
                  <c:v>5.4923215897999998E-2</c:v>
                </c:pt>
                <c:pt idx="55">
                  <c:v>5.6718433489999998E-2</c:v>
                </c:pt>
                <c:pt idx="56">
                  <c:v>5.5143502095999997E-2</c:v>
                </c:pt>
                <c:pt idx="57">
                  <c:v>5.3097345131999998E-2</c:v>
                </c:pt>
                <c:pt idx="58">
                  <c:v>5.4221656861E-2</c:v>
                </c:pt>
                <c:pt idx="59">
                  <c:v>5.4334554334000001E-2</c:v>
                </c:pt>
                <c:pt idx="60">
                  <c:v>5.4239877769000001E-2</c:v>
                </c:pt>
                <c:pt idx="61">
                  <c:v>5.3928405392000001E-2</c:v>
                </c:pt>
                <c:pt idx="62">
                  <c:v>5.1114227832000002E-2</c:v>
                </c:pt>
                <c:pt idx="63">
                  <c:v>5.0108932460999997E-2</c:v>
                </c:pt>
                <c:pt idx="64">
                  <c:v>4.9315068492999999E-2</c:v>
                </c:pt>
                <c:pt idx="65">
                  <c:v>4.8890971571000003E-2</c:v>
                </c:pt>
                <c:pt idx="66">
                  <c:v>4.9747186429000001E-2</c:v>
                </c:pt>
                <c:pt idx="67">
                  <c:v>4.8168590065000003E-2</c:v>
                </c:pt>
                <c:pt idx="68">
                  <c:v>4.6594982078000002E-2</c:v>
                </c:pt>
                <c:pt idx="69">
                  <c:v>4.6145685997000002E-2</c:v>
                </c:pt>
                <c:pt idx="70">
                  <c:v>4.5429565854000001E-2</c:v>
                </c:pt>
                <c:pt idx="71">
                  <c:v>4.5498176233000003E-2</c:v>
                </c:pt>
                <c:pt idx="72">
                  <c:v>4.3089753772E-2</c:v>
                </c:pt>
                <c:pt idx="73">
                  <c:v>0.04</c:v>
                </c:pt>
                <c:pt idx="74">
                  <c:v>3.9991711562000001E-2</c:v>
                </c:pt>
                <c:pt idx="75">
                  <c:v>3.9110921136000003E-2</c:v>
                </c:pt>
                <c:pt idx="76">
                  <c:v>3.9707187222E-2</c:v>
                </c:pt>
                <c:pt idx="77">
                  <c:v>4.0801368189000001E-2</c:v>
                </c:pt>
                <c:pt idx="78">
                  <c:v>4.1830708660999999E-2</c:v>
                </c:pt>
                <c:pt idx="79">
                  <c:v>3.9827498730999999E-2</c:v>
                </c:pt>
                <c:pt idx="80">
                  <c:v>4.1358531908999997E-2</c:v>
                </c:pt>
                <c:pt idx="81">
                  <c:v>4.3564356435E-2</c:v>
                </c:pt>
                <c:pt idx="82">
                  <c:v>4.3717429066999998E-2</c:v>
                </c:pt>
                <c:pt idx="83">
                  <c:v>4.1104110410999997E-2</c:v>
                </c:pt>
                <c:pt idx="84">
                  <c:v>3.9965743647999999E-2</c:v>
                </c:pt>
                <c:pt idx="85">
                  <c:v>4.2527339003E-2</c:v>
                </c:pt>
                <c:pt idx="86">
                  <c:v>4.3423536814999997E-2</c:v>
                </c:pt>
                <c:pt idx="87">
                  <c:v>4.4012944982999999E-2</c:v>
                </c:pt>
                <c:pt idx="88">
                  <c:v>4.0567282321000001E-2</c:v>
                </c:pt>
                <c:pt idx="89">
                  <c:v>4.0695766326999998E-2</c:v>
                </c:pt>
                <c:pt idx="90">
                  <c:v>4.4348116037999999E-2</c:v>
                </c:pt>
                <c:pt idx="91">
                  <c:v>4.4117647057999997E-2</c:v>
                </c:pt>
                <c:pt idx="92">
                  <c:v>4.3909348441000001E-2</c:v>
                </c:pt>
                <c:pt idx="93">
                  <c:v>4.7685346327E-2</c:v>
                </c:pt>
                <c:pt idx="94">
                  <c:v>4.7683462969000001E-2</c:v>
                </c:pt>
                <c:pt idx="95">
                  <c:v>4.7843665767999997E-2</c:v>
                </c:pt>
                <c:pt idx="96">
                  <c:v>4.8993288590000003E-2</c:v>
                </c:pt>
                <c:pt idx="97">
                  <c:v>4.6838407493999999E-2</c:v>
                </c:pt>
                <c:pt idx="98">
                  <c:v>4.7555703358000002E-2</c:v>
                </c:pt>
                <c:pt idx="99">
                  <c:v>4.601029601E-2</c:v>
                </c:pt>
                <c:pt idx="100">
                  <c:v>4.2471042471000003E-2</c:v>
                </c:pt>
                <c:pt idx="101">
                  <c:v>4.2428198432999997E-2</c:v>
                </c:pt>
                <c:pt idx="102">
                  <c:v>4.4043092521999998E-2</c:v>
                </c:pt>
                <c:pt idx="103">
                  <c:v>4.3818466352999998E-2</c:v>
                </c:pt>
                <c:pt idx="104">
                  <c:v>4.6201550387000002E-2</c:v>
                </c:pt>
                <c:pt idx="105">
                  <c:v>4.3243243243000003E-2</c:v>
                </c:pt>
                <c:pt idx="106">
                  <c:v>4.3079743354E-2</c:v>
                </c:pt>
                <c:pt idx="107">
                  <c:v>4.3912780132999998E-2</c:v>
                </c:pt>
                <c:pt idx="108">
                  <c:v>4.2061611374000003E-2</c:v>
                </c:pt>
                <c:pt idx="109">
                  <c:v>4.1641701617000003E-2</c:v>
                </c:pt>
                <c:pt idx="110">
                  <c:v>4.1506077675000003E-2</c:v>
                </c:pt>
                <c:pt idx="111">
                  <c:v>3.9007092197999998E-2</c:v>
                </c:pt>
                <c:pt idx="112">
                  <c:v>4.3831640057999999E-2</c:v>
                </c:pt>
                <c:pt idx="113">
                  <c:v>4.4481512371000002E-2</c:v>
                </c:pt>
                <c:pt idx="114">
                  <c:v>4.5943588251999998E-2</c:v>
                </c:pt>
                <c:pt idx="115">
                  <c:v>4.7900650502E-2</c:v>
                </c:pt>
                <c:pt idx="116">
                  <c:v>4.8937360178000003E-2</c:v>
                </c:pt>
                <c:pt idx="117">
                  <c:v>4.8391385268999998E-2</c:v>
                </c:pt>
                <c:pt idx="118">
                  <c:v>5.1017905321999998E-2</c:v>
                </c:pt>
                <c:pt idx="119">
                  <c:v>5.0297210790999997E-2</c:v>
                </c:pt>
                <c:pt idx="120">
                  <c:v>5.1507814218999998E-2</c:v>
                </c:pt>
                <c:pt idx="121">
                  <c:v>5.0789154188000001E-2</c:v>
                </c:pt>
                <c:pt idx="122">
                  <c:v>5.0683033061999998E-2</c:v>
                </c:pt>
                <c:pt idx="123">
                  <c:v>4.8714998081999999E-2</c:v>
                </c:pt>
                <c:pt idx="124">
                  <c:v>4.8812664907000002E-2</c:v>
                </c:pt>
                <c:pt idx="125">
                  <c:v>4.5479653839000003E-2</c:v>
                </c:pt>
                <c:pt idx="126">
                  <c:v>4.4646098002999998E-2</c:v>
                </c:pt>
                <c:pt idx="127">
                  <c:v>4.2796005706E-2</c:v>
                </c:pt>
                <c:pt idx="128">
                  <c:v>4.0943789034999997E-2</c:v>
                </c:pt>
                <c:pt idx="129">
                  <c:v>4.0233722871000001E-2</c:v>
                </c:pt>
                <c:pt idx="130">
                  <c:v>4.0611724723000002E-2</c:v>
                </c:pt>
                <c:pt idx="131">
                  <c:v>4.1536863966000002E-2</c:v>
                </c:pt>
                <c:pt idx="132">
                  <c:v>4.0439872294999998E-2</c:v>
                </c:pt>
                <c:pt idx="133">
                  <c:v>3.9022611232000001E-2</c:v>
                </c:pt>
                <c:pt idx="134">
                  <c:v>3.8892050843999999E-2</c:v>
                </c:pt>
                <c:pt idx="135">
                  <c:v>4.0901835593999999E-2</c:v>
                </c:pt>
                <c:pt idx="136">
                  <c:v>4.1235019296999999E-2</c:v>
                </c:pt>
                <c:pt idx="137">
                  <c:v>4.0100250625999999E-2</c:v>
                </c:pt>
                <c:pt idx="138">
                  <c:v>3.7857603784999999E-2</c:v>
                </c:pt>
                <c:pt idx="139">
                  <c:v>4.1175161362000001E-2</c:v>
                </c:pt>
                <c:pt idx="140">
                  <c:v>4.3087557603000003E-2</c:v>
                </c:pt>
                <c:pt idx="141">
                  <c:v>4.2794355770999999E-2</c:v>
                </c:pt>
                <c:pt idx="142">
                  <c:v>4.0358744394000001E-2</c:v>
                </c:pt>
                <c:pt idx="143">
                  <c:v>4.0920096852000001E-2</c:v>
                </c:pt>
                <c:pt idx="144">
                  <c:v>4.0900290415999997E-2</c:v>
                </c:pt>
                <c:pt idx="145">
                  <c:v>4.3086660174999999E-2</c:v>
                </c:pt>
                <c:pt idx="146">
                  <c:v>4.3039842597E-2</c:v>
                </c:pt>
                <c:pt idx="147">
                  <c:v>4.3673571250000001E-2</c:v>
                </c:pt>
                <c:pt idx="148">
                  <c:v>4.1890166027999998E-2</c:v>
                </c:pt>
                <c:pt idx="149">
                  <c:v>4.2383765732999998E-2</c:v>
                </c:pt>
                <c:pt idx="150">
                  <c:v>4.3344447293999999E-2</c:v>
                </c:pt>
                <c:pt idx="151">
                  <c:v>4.5466287780000003E-2</c:v>
                </c:pt>
                <c:pt idx="152">
                  <c:v>4.5677419354E-2</c:v>
                </c:pt>
                <c:pt idx="153">
                  <c:v>4.4489383214999997E-2</c:v>
                </c:pt>
                <c:pt idx="154">
                  <c:v>4.1012658227000003E-2</c:v>
                </c:pt>
                <c:pt idx="155">
                  <c:v>4.2954031650000002E-2</c:v>
                </c:pt>
                <c:pt idx="156">
                  <c:v>4.6494464944000002E-2</c:v>
                </c:pt>
                <c:pt idx="157">
                  <c:v>4.7277227722E-2</c:v>
                </c:pt>
                <c:pt idx="158">
                  <c:v>4.6687851380999998E-2</c:v>
                </c:pt>
                <c:pt idx="159">
                  <c:v>4.4696786662999997E-2</c:v>
                </c:pt>
                <c:pt idx="160">
                  <c:v>4.4531441153999998E-2</c:v>
                </c:pt>
                <c:pt idx="161">
                  <c:v>4.5786653677000001E-2</c:v>
                </c:pt>
                <c:pt idx="162">
                  <c:v>4.7261269995000001E-2</c:v>
                </c:pt>
                <c:pt idx="163">
                  <c:v>4.4460641399000002E-2</c:v>
                </c:pt>
                <c:pt idx="164">
                  <c:v>4.1062801932000001E-2</c:v>
                </c:pt>
                <c:pt idx="165">
                  <c:v>3.9603960395999997E-2</c:v>
                </c:pt>
                <c:pt idx="166">
                  <c:v>4.0056550423999998E-2</c:v>
                </c:pt>
                <c:pt idx="167">
                  <c:v>4.0411118896999998E-2</c:v>
                </c:pt>
                <c:pt idx="168">
                  <c:v>4.3072014584999999E-2</c:v>
                </c:pt>
                <c:pt idx="169">
                  <c:v>4.3726653482E-2</c:v>
                </c:pt>
                <c:pt idx="170">
                  <c:v>4.2356482475999997E-2</c:v>
                </c:pt>
                <c:pt idx="171">
                  <c:v>4.2774086378000002E-2</c:v>
                </c:pt>
                <c:pt idx="172">
                  <c:v>4.3877551020000002E-2</c:v>
                </c:pt>
                <c:pt idx="173">
                  <c:v>4.4574425171E-2</c:v>
                </c:pt>
                <c:pt idx="174">
                  <c:v>4.3275761692000002E-2</c:v>
                </c:pt>
                <c:pt idx="175">
                  <c:v>4.2159481114000003E-2</c:v>
                </c:pt>
                <c:pt idx="176">
                  <c:v>4.1603630862000002E-2</c:v>
                </c:pt>
                <c:pt idx="177">
                  <c:v>4.2541537337000002E-2</c:v>
                </c:pt>
                <c:pt idx="178">
                  <c:v>4.1570026761000002E-2</c:v>
                </c:pt>
                <c:pt idx="179">
                  <c:v>4.1666666666000003E-2</c:v>
                </c:pt>
                <c:pt idx="180">
                  <c:v>4.1444539981999998E-2</c:v>
                </c:pt>
                <c:pt idx="181">
                  <c:v>4.0495867768000002E-2</c:v>
                </c:pt>
                <c:pt idx="182">
                  <c:v>4.0179286056999997E-2</c:v>
                </c:pt>
                <c:pt idx="183">
                  <c:v>3.9253231211000002E-2</c:v>
                </c:pt>
                <c:pt idx="184">
                  <c:v>4.0031897926000003E-2</c:v>
                </c:pt>
                <c:pt idx="185">
                  <c:v>4.1480536056000002E-2</c:v>
                </c:pt>
                <c:pt idx="186">
                  <c:v>3.9530084139999998E-2</c:v>
                </c:pt>
                <c:pt idx="187">
                  <c:v>3.7881169442999997E-2</c:v>
                </c:pt>
                <c:pt idx="188">
                  <c:v>3.8399999999999997E-2</c:v>
                </c:pt>
                <c:pt idx="189">
                  <c:v>3.640776699E-2</c:v>
                </c:pt>
                <c:pt idx="190">
                  <c:v>3.6091410559000003E-2</c:v>
                </c:pt>
                <c:pt idx="191">
                  <c:v>3.5573744687000003E-2</c:v>
                </c:pt>
                <c:pt idx="192">
                  <c:v>3.3644859813E-2</c:v>
                </c:pt>
                <c:pt idx="193">
                  <c:v>3.5213462137000003E-2</c:v>
                </c:pt>
                <c:pt idx="194">
                  <c:v>3.4585756955999997E-2</c:v>
                </c:pt>
                <c:pt idx="195">
                  <c:v>3.3060453400000002E-2</c:v>
                </c:pt>
                <c:pt idx="196">
                  <c:v>3.4307496823000001E-2</c:v>
                </c:pt>
                <c:pt idx="197">
                  <c:v>3.3061889249999997E-2</c:v>
                </c:pt>
                <c:pt idx="198">
                  <c:v>3.1732845986999998E-2</c:v>
                </c:pt>
                <c:pt idx="199">
                  <c:v>3.3481380252000002E-2</c:v>
                </c:pt>
                <c:pt idx="200">
                  <c:v>3.1916769529000001E-2</c:v>
                </c:pt>
                <c:pt idx="201">
                  <c:v>3.2443090159000001E-2</c:v>
                </c:pt>
                <c:pt idx="202">
                  <c:v>3.5759897828000001E-2</c:v>
                </c:pt>
                <c:pt idx="203">
                  <c:v>3.5331704566000002E-2</c:v>
                </c:pt>
                <c:pt idx="204">
                  <c:v>3.6216528606999997E-2</c:v>
                </c:pt>
                <c:pt idx="205">
                  <c:v>3.6210608728999998E-2</c:v>
                </c:pt>
                <c:pt idx="206">
                  <c:v>3.4916201117000001E-2</c:v>
                </c:pt>
                <c:pt idx="207">
                  <c:v>3.4902273632999997E-2</c:v>
                </c:pt>
                <c:pt idx="208">
                  <c:v>3.5389282102999998E-2</c:v>
                </c:pt>
                <c:pt idx="209">
                  <c:v>3.2923525734000002E-2</c:v>
                </c:pt>
                <c:pt idx="210">
                  <c:v>3.1749414019999998E-2</c:v>
                </c:pt>
                <c:pt idx="211">
                  <c:v>3.2804692591000002E-2</c:v>
                </c:pt>
                <c:pt idx="212">
                  <c:v>3.2940129089E-2</c:v>
                </c:pt>
                <c:pt idx="213">
                  <c:v>3.3574259734000002E-2</c:v>
                </c:pt>
                <c:pt idx="214">
                  <c:v>3.4285714284999998E-2</c:v>
                </c:pt>
                <c:pt idx="215">
                  <c:v>3.3743070618999997E-2</c:v>
                </c:pt>
                <c:pt idx="216">
                  <c:v>3.5167785234E-2</c:v>
                </c:pt>
                <c:pt idx="217">
                  <c:v>3.5338548690999998E-2</c:v>
                </c:pt>
                <c:pt idx="218">
                  <c:v>3.4173669466999998E-2</c:v>
                </c:pt>
                <c:pt idx="219">
                  <c:v>3.6643026003999997E-2</c:v>
                </c:pt>
                <c:pt idx="220">
                  <c:v>3.5724918129999998E-2</c:v>
                </c:pt>
                <c:pt idx="221">
                  <c:v>3.8582183185999999E-2</c:v>
                </c:pt>
                <c:pt idx="222">
                  <c:v>4.0303931284999997E-2</c:v>
                </c:pt>
                <c:pt idx="223">
                  <c:v>4.2262678802999998E-2</c:v>
                </c:pt>
                <c:pt idx="224">
                  <c:v>4.6602632514999999E-2</c:v>
                </c:pt>
                <c:pt idx="225">
                  <c:v>4.5098770033000002E-2</c:v>
                </c:pt>
                <c:pt idx="226">
                  <c:v>4.1138023836000001E-2</c:v>
                </c:pt>
                <c:pt idx="227">
                  <c:v>4.4272948822000002E-2</c:v>
                </c:pt>
                <c:pt idx="228">
                  <c:v>4.2131350680999997E-2</c:v>
                </c:pt>
                <c:pt idx="229">
                  <c:v>4.0893760538999999E-2</c:v>
                </c:pt>
                <c:pt idx="230">
                  <c:v>3.9393939393000003E-2</c:v>
                </c:pt>
                <c:pt idx="231">
                  <c:v>3.8410596025999999E-2</c:v>
                </c:pt>
                <c:pt idx="232">
                  <c:v>4.0687160940000001E-2</c:v>
                </c:pt>
                <c:pt idx="233">
                  <c:v>4.4769085767999997E-2</c:v>
                </c:pt>
                <c:pt idx="234">
                  <c:v>4.4783464565999999E-2</c:v>
                </c:pt>
                <c:pt idx="235">
                  <c:v>4.5478036175E-2</c:v>
                </c:pt>
                <c:pt idx="236">
                  <c:v>4.9197860962000003E-2</c:v>
                </c:pt>
                <c:pt idx="237">
                  <c:v>4.7217537942000003E-2</c:v>
                </c:pt>
                <c:pt idx="238">
                  <c:v>4.6497939964E-2</c:v>
                </c:pt>
                <c:pt idx="239">
                  <c:v>5.0219711235999998E-2</c:v>
                </c:pt>
                <c:pt idx="240">
                  <c:v>4.8253968252999997E-2</c:v>
                </c:pt>
                <c:pt idx="241">
                  <c:v>4.6496398166E-2</c:v>
                </c:pt>
                <c:pt idx="242">
                  <c:v>4.1474654377E-2</c:v>
                </c:pt>
                <c:pt idx="243">
                  <c:v>3.6072144287999999E-2</c:v>
                </c:pt>
                <c:pt idx="244">
                  <c:v>3.8952316990999998E-2</c:v>
                </c:pt>
                <c:pt idx="245">
                  <c:v>4.0396881644000002E-2</c:v>
                </c:pt>
                <c:pt idx="246">
                  <c:v>3.6710719529999998E-2</c:v>
                </c:pt>
                <c:pt idx="247">
                  <c:v>3.4883720930000001E-2</c:v>
                </c:pt>
                <c:pt idx="248">
                  <c:v>3.8065027755000001E-2</c:v>
                </c:pt>
                <c:pt idx="249">
                  <c:v>4.1841004183999997E-2</c:v>
                </c:pt>
                <c:pt idx="250">
                  <c:v>4.6086956520999998E-2</c:v>
                </c:pt>
                <c:pt idx="251">
                  <c:v>4.5751633985999997E-2</c:v>
                </c:pt>
                <c:pt idx="252">
                  <c:v>4.5279383429000002E-2</c:v>
                </c:pt>
                <c:pt idx="253">
                  <c:v>4.7283702213000003E-2</c:v>
                </c:pt>
                <c:pt idx="254">
                  <c:v>4.7669491525000003E-2</c:v>
                </c:pt>
                <c:pt idx="255">
                  <c:v>4.4673539518000002E-2</c:v>
                </c:pt>
                <c:pt idx="256">
                  <c:v>4.3735224586000002E-2</c:v>
                </c:pt>
                <c:pt idx="257">
                  <c:v>3.9555006179999998E-2</c:v>
                </c:pt>
                <c:pt idx="258">
                  <c:v>3.6684782607999997E-2</c:v>
                </c:pt>
                <c:pt idx="259">
                  <c:v>3.9881831610000001E-2</c:v>
                </c:pt>
                <c:pt idx="260">
                  <c:v>3.9473684209999998E-2</c:v>
                </c:pt>
                <c:pt idx="261">
                  <c:v>3.7837837837000003E-2</c:v>
                </c:pt>
                <c:pt idx="262">
                  <c:v>4.1745730549999999E-2</c:v>
                </c:pt>
                <c:pt idx="263">
                  <c:v>5.2313883298999997E-2</c:v>
                </c:pt>
                <c:pt idx="264">
                  <c:v>5.4229934924000002E-2</c:v>
                </c:pt>
                <c:pt idx="265">
                  <c:v>5.3012048191999998E-2</c:v>
                </c:pt>
                <c:pt idx="266">
                  <c:v>4.8223350253000001E-2</c:v>
                </c:pt>
                <c:pt idx="267">
                  <c:v>4.9222797927000003E-2</c:v>
                </c:pt>
                <c:pt idx="268">
                  <c:v>5.8988764043999997E-2</c:v>
                </c:pt>
                <c:pt idx="269">
                  <c:v>5.0156739811000002E-2</c:v>
                </c:pt>
                <c:pt idx="270">
                  <c:v>3.3003300329999999E-2</c:v>
                </c:pt>
                <c:pt idx="271">
                  <c:v>4.6511627905999997E-2</c:v>
                </c:pt>
                <c:pt idx="272">
                  <c:v>5.2631578946999998E-2</c:v>
                </c:pt>
                <c:pt idx="273">
                  <c:v>5.5118110236000002E-2</c:v>
                </c:pt>
                <c:pt idx="274">
                  <c:v>4.7619047619000002E-2</c:v>
                </c:pt>
                <c:pt idx="275">
                  <c:v>4.6948356806999998E-2</c:v>
                </c:pt>
                <c:pt idx="276">
                  <c:v>5.9701492537000002E-2</c:v>
                </c:pt>
                <c:pt idx="277">
                  <c:v>5.5837563451000001E-2</c:v>
                </c:pt>
                <c:pt idx="278">
                  <c:v>3.2967032967000001E-2</c:v>
                </c:pt>
                <c:pt idx="279">
                  <c:v>3.2258064516000003E-2</c:v>
                </c:pt>
                <c:pt idx="280">
                  <c:v>2.6666666666E-2</c:v>
                </c:pt>
                <c:pt idx="281">
                  <c:v>3.1496062992000001E-2</c:v>
                </c:pt>
                <c:pt idx="282">
                  <c:v>4.8000000000000001E-2</c:v>
                </c:pt>
                <c:pt idx="283">
                  <c:v>3.7383177570000002E-2</c:v>
                </c:pt>
                <c:pt idx="284">
                  <c:v>0.05</c:v>
                </c:pt>
                <c:pt idx="285">
                  <c:v>5.3763440859999997E-2</c:v>
                </c:pt>
                <c:pt idx="286">
                  <c:v>5.6818181818000003E-2</c:v>
                </c:pt>
                <c:pt idx="287">
                  <c:v>8.1081081080999998E-2</c:v>
                </c:pt>
                <c:pt idx="288">
                  <c:v>9.2307692307000005E-2</c:v>
                </c:pt>
                <c:pt idx="289">
                  <c:v>4.2253521125999997E-2</c:v>
                </c:pt>
                <c:pt idx="290">
                  <c:v>5.7971014491999998E-2</c:v>
                </c:pt>
                <c:pt idx="291">
                  <c:v>5.6338028169E-2</c:v>
                </c:pt>
                <c:pt idx="292">
                  <c:v>7.3529411764000005E-2</c:v>
                </c:pt>
                <c:pt idx="293">
                  <c:v>7.4626865671000006E-2</c:v>
                </c:pt>
                <c:pt idx="294">
                  <c:v>6.1538461538000001E-2</c:v>
                </c:pt>
                <c:pt idx="295">
                  <c:v>4.5454545454000003E-2</c:v>
                </c:pt>
                <c:pt idx="296">
                  <c:v>8.6956521738999995E-2</c:v>
                </c:pt>
                <c:pt idx="297">
                  <c:v>6.8181818180999998E-2</c:v>
                </c:pt>
                <c:pt idx="298">
                  <c:v>5.5555555554999997E-2</c:v>
                </c:pt>
                <c:pt idx="299">
                  <c:v>2.7777777776999999E-2</c:v>
                </c:pt>
                <c:pt idx="300">
                  <c:v>5.7142857142E-2</c:v>
                </c:pt>
                <c:pt idx="301">
                  <c:v>6.6666666666000005E-2</c:v>
                </c:pt>
                <c:pt idx="302">
                  <c:v>0.12121212121200001</c:v>
                </c:pt>
                <c:pt idx="303">
                  <c:v>9.0909090908999998E-2</c:v>
                </c:pt>
                <c:pt idx="304">
                  <c:v>0.10344827586200001</c:v>
                </c:pt>
                <c:pt idx="305">
                  <c:v>0.10344827586200001</c:v>
                </c:pt>
                <c:pt idx="306">
                  <c:v>0.1</c:v>
                </c:pt>
                <c:pt idx="307">
                  <c:v>0.12</c:v>
                </c:pt>
                <c:pt idx="309">
                  <c:v>0.12903225806400001</c:v>
                </c:pt>
                <c:pt idx="310">
                  <c:v>0.08</c:v>
                </c:pt>
                <c:pt idx="311">
                  <c:v>7.6923076923000003E-2</c:v>
                </c:pt>
                <c:pt idx="312">
                  <c:v>0.111111111111</c:v>
                </c:pt>
                <c:pt idx="313">
                  <c:v>0.1</c:v>
                </c:pt>
                <c:pt idx="314">
                  <c:v>8.5714285713999999E-2</c:v>
                </c:pt>
                <c:pt idx="316">
                  <c:v>0.105263157894</c:v>
                </c:pt>
                <c:pt idx="317">
                  <c:v>8.3333333332999998E-2</c:v>
                </c:pt>
                <c:pt idx="318">
                  <c:v>0.105263157894</c:v>
                </c:pt>
                <c:pt idx="319">
                  <c:v>0.10810810810800001</c:v>
                </c:pt>
                <c:pt idx="320">
                  <c:v>8.3333333332999998E-2</c:v>
                </c:pt>
                <c:pt idx="321">
                  <c:v>9.7560975608999997E-2</c:v>
                </c:pt>
                <c:pt idx="322">
                  <c:v>0.13157894736799999</c:v>
                </c:pt>
                <c:pt idx="323">
                  <c:v>7.6923076923000003E-2</c:v>
                </c:pt>
                <c:pt idx="324">
                  <c:v>7.6923076923000003E-2</c:v>
                </c:pt>
                <c:pt idx="325">
                  <c:v>7.8947368421000003E-2</c:v>
                </c:pt>
                <c:pt idx="326">
                  <c:v>7.4999999999999997E-2</c:v>
                </c:pt>
                <c:pt idx="327">
                  <c:v>6.5217391304000005E-2</c:v>
                </c:pt>
                <c:pt idx="328">
                  <c:v>0.06</c:v>
                </c:pt>
                <c:pt idx="329">
                  <c:v>4.1666666666000003E-2</c:v>
                </c:pt>
                <c:pt idx="330">
                  <c:v>6.1224489795000003E-2</c:v>
                </c:pt>
                <c:pt idx="331">
                  <c:v>7.4074074074000004E-2</c:v>
                </c:pt>
                <c:pt idx="332">
                  <c:v>9.4339622641000001E-2</c:v>
                </c:pt>
                <c:pt idx="333">
                  <c:v>9.6153846153000003E-2</c:v>
                </c:pt>
                <c:pt idx="334">
                  <c:v>0.125</c:v>
                </c:pt>
                <c:pt idx="335">
                  <c:v>0.116279069767</c:v>
                </c:pt>
                <c:pt idx="336">
                  <c:v>0.13953488372</c:v>
                </c:pt>
                <c:pt idx="337">
                  <c:v>0.125</c:v>
                </c:pt>
                <c:pt idx="338">
                  <c:v>0.125</c:v>
                </c:pt>
                <c:pt idx="339">
                  <c:v>8.8888888888000006E-2</c:v>
                </c:pt>
                <c:pt idx="340">
                  <c:v>8.6956521738999995E-2</c:v>
                </c:pt>
                <c:pt idx="341">
                  <c:v>6.8181818180999998E-2</c:v>
                </c:pt>
                <c:pt idx="342">
                  <c:v>9.5238095238000003E-2</c:v>
                </c:pt>
                <c:pt idx="343">
                  <c:v>6.5217391304000005E-2</c:v>
                </c:pt>
                <c:pt idx="344">
                  <c:v>9.7560975608999997E-2</c:v>
                </c:pt>
                <c:pt idx="345">
                  <c:v>0.116279069767</c:v>
                </c:pt>
                <c:pt idx="346">
                  <c:v>0.1</c:v>
                </c:pt>
                <c:pt idx="347">
                  <c:v>9.3023255813E-2</c:v>
                </c:pt>
                <c:pt idx="348">
                  <c:v>0.10869565217300001</c:v>
                </c:pt>
                <c:pt idx="349">
                  <c:v>0.102040816326</c:v>
                </c:pt>
                <c:pt idx="350">
                  <c:v>0.102040816326</c:v>
                </c:pt>
                <c:pt idx="351">
                  <c:v>5.8823529410999997E-2</c:v>
                </c:pt>
                <c:pt idx="352">
                  <c:v>7.1428571428000007E-2</c:v>
                </c:pt>
                <c:pt idx="353">
                  <c:v>8.3333333332999998E-2</c:v>
                </c:pt>
                <c:pt idx="354">
                  <c:v>8.7719298244999994E-2</c:v>
                </c:pt>
                <c:pt idx="355">
                  <c:v>6.8965517241000002E-2</c:v>
                </c:pt>
                <c:pt idx="356">
                  <c:v>7.1428571428000007E-2</c:v>
                </c:pt>
                <c:pt idx="357">
                  <c:v>8.3333333332999998E-2</c:v>
                </c:pt>
                <c:pt idx="358">
                  <c:v>9.8360655736999994E-2</c:v>
                </c:pt>
                <c:pt idx="359">
                  <c:v>6.8965517241000002E-2</c:v>
                </c:pt>
                <c:pt idx="360">
                  <c:v>5.4545454544999997E-2</c:v>
                </c:pt>
                <c:pt idx="361">
                  <c:v>5.5555555554999997E-2</c:v>
                </c:pt>
                <c:pt idx="362">
                  <c:v>5.8823529410999997E-2</c:v>
                </c:pt>
                <c:pt idx="363">
                  <c:v>4.2553191488999997E-2</c:v>
                </c:pt>
                <c:pt idx="364">
                  <c:v>2.2222222222000002E-2</c:v>
                </c:pt>
                <c:pt idx="365">
                  <c:v>0.02</c:v>
                </c:pt>
                <c:pt idx="366">
                  <c:v>3.7735849055999998E-2</c:v>
                </c:pt>
                <c:pt idx="367">
                  <c:v>8.3333333332999998E-2</c:v>
                </c:pt>
                <c:pt idx="368">
                  <c:v>8.0645161290000003E-2</c:v>
                </c:pt>
                <c:pt idx="369">
                  <c:v>0.101449275362</c:v>
                </c:pt>
                <c:pt idx="370">
                  <c:v>0.10975609756</c:v>
                </c:pt>
                <c:pt idx="371">
                  <c:v>0.116279069767</c:v>
                </c:pt>
                <c:pt idx="372">
                  <c:v>0.10465116279</c:v>
                </c:pt>
                <c:pt idx="373">
                  <c:v>8.6956521738999995E-2</c:v>
                </c:pt>
                <c:pt idx="374">
                  <c:v>7.6923076923000003E-2</c:v>
                </c:pt>
                <c:pt idx="375">
                  <c:v>7.2916666665999996E-2</c:v>
                </c:pt>
                <c:pt idx="376">
                  <c:v>5.8252427183999998E-2</c:v>
                </c:pt>
                <c:pt idx="377">
                  <c:v>6.9565217390999995E-2</c:v>
                </c:pt>
                <c:pt idx="378">
                  <c:v>7.0866141731999996E-2</c:v>
                </c:pt>
                <c:pt idx="379">
                  <c:v>6.9767441860000001E-2</c:v>
                </c:pt>
                <c:pt idx="380">
                  <c:v>8.3333333332999998E-2</c:v>
                </c:pt>
                <c:pt idx="381">
                  <c:v>6.6666666666000005E-2</c:v>
                </c:pt>
                <c:pt idx="382">
                  <c:v>6.8027210884000003E-2</c:v>
                </c:pt>
                <c:pt idx="383">
                  <c:v>7.6388888887999995E-2</c:v>
                </c:pt>
                <c:pt idx="384">
                  <c:v>5.0724637681000002E-2</c:v>
                </c:pt>
                <c:pt idx="385">
                  <c:v>3.7878787878000003E-2</c:v>
                </c:pt>
                <c:pt idx="386">
                  <c:v>4.5454545454000003E-2</c:v>
                </c:pt>
                <c:pt idx="387">
                  <c:v>4.4776119401999999E-2</c:v>
                </c:pt>
                <c:pt idx="388">
                  <c:v>6.1538461538000001E-2</c:v>
                </c:pt>
                <c:pt idx="389">
                  <c:v>7.8014184397000003E-2</c:v>
                </c:pt>
                <c:pt idx="390">
                  <c:v>6.9930069930000005E-2</c:v>
                </c:pt>
                <c:pt idx="391">
                  <c:v>8.4415584414999995E-2</c:v>
                </c:pt>
                <c:pt idx="392">
                  <c:v>0.1059602649</c:v>
                </c:pt>
                <c:pt idx="393">
                  <c:v>0.1</c:v>
                </c:pt>
                <c:pt idx="394">
                  <c:v>0.10497237568999999</c:v>
                </c:pt>
                <c:pt idx="395">
                  <c:v>9.1891891890999999E-2</c:v>
                </c:pt>
                <c:pt idx="396">
                  <c:v>7.8125E-2</c:v>
                </c:pt>
                <c:pt idx="397">
                  <c:v>9.4527363183999999E-2</c:v>
                </c:pt>
                <c:pt idx="398">
                  <c:v>7.7272727272000005E-2</c:v>
                </c:pt>
                <c:pt idx="399">
                  <c:v>9.4262295080999994E-2</c:v>
                </c:pt>
                <c:pt idx="400">
                  <c:v>0.12595419847299999</c:v>
                </c:pt>
                <c:pt idx="401">
                  <c:v>0.118959107806</c:v>
                </c:pt>
                <c:pt idx="402">
                  <c:v>0.114186851211</c:v>
                </c:pt>
                <c:pt idx="403">
                  <c:v>0.123287671232</c:v>
                </c:pt>
                <c:pt idx="404">
                  <c:v>0.109634551495</c:v>
                </c:pt>
                <c:pt idx="405">
                  <c:v>0.11585365853600001</c:v>
                </c:pt>
                <c:pt idx="406">
                  <c:v>9.7142857141999994E-2</c:v>
                </c:pt>
                <c:pt idx="407">
                  <c:v>7.5208913648999995E-2</c:v>
                </c:pt>
                <c:pt idx="408">
                  <c:v>7.9575596816000002E-2</c:v>
                </c:pt>
                <c:pt idx="409">
                  <c:v>7.5980392155999998E-2</c:v>
                </c:pt>
                <c:pt idx="410">
                  <c:v>6.25E-2</c:v>
                </c:pt>
                <c:pt idx="411">
                  <c:v>6.4377682403E-2</c:v>
                </c:pt>
                <c:pt idx="412">
                  <c:v>6.1420345489000001E-2</c:v>
                </c:pt>
                <c:pt idx="413">
                  <c:v>5.2545155992999998E-2</c:v>
                </c:pt>
                <c:pt idx="414">
                  <c:v>4.6757164403999997E-2</c:v>
                </c:pt>
                <c:pt idx="415">
                  <c:v>4.3243243243000003E-2</c:v>
                </c:pt>
                <c:pt idx="416">
                  <c:v>4.4009779951E-2</c:v>
                </c:pt>
                <c:pt idx="417">
                  <c:v>5.2325581395000001E-2</c:v>
                </c:pt>
                <c:pt idx="418">
                  <c:v>5.9912854029999997E-2</c:v>
                </c:pt>
                <c:pt idx="419">
                  <c:v>5.5944055944000003E-2</c:v>
                </c:pt>
                <c:pt idx="420">
                  <c:v>5.2111410600999997E-2</c:v>
                </c:pt>
                <c:pt idx="421">
                  <c:v>5.7443365694999998E-2</c:v>
                </c:pt>
                <c:pt idx="422">
                  <c:v>5.5031446540000001E-2</c:v>
                </c:pt>
                <c:pt idx="423">
                  <c:v>4.9204052098000002E-2</c:v>
                </c:pt>
                <c:pt idx="424">
                  <c:v>4.6607265250000002E-2</c:v>
                </c:pt>
                <c:pt idx="425">
                  <c:v>4.1881443297999997E-2</c:v>
                </c:pt>
                <c:pt idx="426">
                  <c:v>4.4647967944999999E-2</c:v>
                </c:pt>
                <c:pt idx="427">
                  <c:v>4.8910154173000001E-2</c:v>
                </c:pt>
                <c:pt idx="428">
                  <c:v>4.2941757156000002E-2</c:v>
                </c:pt>
                <c:pt idx="429">
                  <c:v>4.2391789378999997E-2</c:v>
                </c:pt>
                <c:pt idx="430">
                  <c:v>4.7639484978000003E-2</c:v>
                </c:pt>
                <c:pt idx="431">
                  <c:v>4.9979347377000001E-2</c:v>
                </c:pt>
                <c:pt idx="432">
                  <c:v>5.1282051282000002E-2</c:v>
                </c:pt>
                <c:pt idx="433">
                  <c:v>5.0381679388999998E-2</c:v>
                </c:pt>
                <c:pt idx="434">
                  <c:v>4.6914471308999998E-2</c:v>
                </c:pt>
                <c:pt idx="435">
                  <c:v>5.1156271899000003E-2</c:v>
                </c:pt>
                <c:pt idx="436">
                  <c:v>5.1299358757999999E-2</c:v>
                </c:pt>
                <c:pt idx="437">
                  <c:v>4.9107142856999998E-2</c:v>
                </c:pt>
                <c:pt idx="438">
                  <c:v>4.7648514851000003E-2</c:v>
                </c:pt>
                <c:pt idx="439">
                  <c:v>4.7936893203E-2</c:v>
                </c:pt>
                <c:pt idx="440">
                  <c:v>4.3453401943E-2</c:v>
                </c:pt>
                <c:pt idx="441">
                  <c:v>4.2370534477000003E-2</c:v>
                </c:pt>
                <c:pt idx="442">
                  <c:v>4.3971238938E-2</c:v>
                </c:pt>
                <c:pt idx="443">
                  <c:v>4.4367693941999999E-2</c:v>
                </c:pt>
                <c:pt idx="444">
                  <c:v>4.2780748663000003E-2</c:v>
                </c:pt>
                <c:pt idx="445">
                  <c:v>4.4274053920000001E-2</c:v>
                </c:pt>
                <c:pt idx="446">
                  <c:v>4.5021438779999999E-2</c:v>
                </c:pt>
                <c:pt idx="447">
                  <c:v>4.8435689455E-2</c:v>
                </c:pt>
                <c:pt idx="448">
                  <c:v>5.0374404355999998E-2</c:v>
                </c:pt>
                <c:pt idx="449">
                  <c:v>4.5757250268000003E-2</c:v>
                </c:pt>
                <c:pt idx="450">
                  <c:v>4.5887079720000001E-2</c:v>
                </c:pt>
                <c:pt idx="451">
                  <c:v>4.7093144405000002E-2</c:v>
                </c:pt>
                <c:pt idx="452">
                  <c:v>4.4871794871000001E-2</c:v>
                </c:pt>
                <c:pt idx="453">
                  <c:v>4.3055268059999999E-2</c:v>
                </c:pt>
                <c:pt idx="454">
                  <c:v>4.1640641265E-2</c:v>
                </c:pt>
                <c:pt idx="455">
                  <c:v>4.0292275574000003E-2</c:v>
                </c:pt>
                <c:pt idx="456">
                  <c:v>4.1500733598000002E-2</c:v>
                </c:pt>
                <c:pt idx="457">
                  <c:v>3.9080459769999999E-2</c:v>
                </c:pt>
                <c:pt idx="458">
                  <c:v>3.8733147869999998E-2</c:v>
                </c:pt>
                <c:pt idx="459">
                  <c:v>3.7085514834000001E-2</c:v>
                </c:pt>
                <c:pt idx="460">
                  <c:v>3.6671058409999999E-2</c:v>
                </c:pt>
                <c:pt idx="461">
                  <c:v>3.7335121842000003E-2</c:v>
                </c:pt>
                <c:pt idx="462">
                  <c:v>3.6774783004999999E-2</c:v>
                </c:pt>
                <c:pt idx="463">
                  <c:v>3.4402603439999999E-2</c:v>
                </c:pt>
                <c:pt idx="464">
                  <c:v>3.4557757369999997E-2</c:v>
                </c:pt>
                <c:pt idx="465">
                  <c:v>3.2695567933999997E-2</c:v>
                </c:pt>
                <c:pt idx="466">
                  <c:v>3.4652248709000001E-2</c:v>
                </c:pt>
                <c:pt idx="467">
                  <c:v>3.4972123669000002E-2</c:v>
                </c:pt>
                <c:pt idx="468">
                  <c:v>3.3827738745000002E-2</c:v>
                </c:pt>
                <c:pt idx="469">
                  <c:v>3.6568970153000001E-2</c:v>
                </c:pt>
                <c:pt idx="470">
                  <c:v>3.8041958041000003E-2</c:v>
                </c:pt>
                <c:pt idx="471">
                  <c:v>3.7909247558E-2</c:v>
                </c:pt>
                <c:pt idx="472">
                  <c:v>3.8984587488000003E-2</c:v>
                </c:pt>
                <c:pt idx="473">
                  <c:v>3.8182391921000002E-2</c:v>
                </c:pt>
                <c:pt idx="474">
                  <c:v>3.8387096773999999E-2</c:v>
                </c:pt>
                <c:pt idx="475">
                  <c:v>4.0788109229000002E-2</c:v>
                </c:pt>
                <c:pt idx="476">
                  <c:v>3.9152298850000003E-2</c:v>
                </c:pt>
                <c:pt idx="477">
                  <c:v>4.0754716981E-2</c:v>
                </c:pt>
                <c:pt idx="478">
                  <c:v>4.6172539488999999E-2</c:v>
                </c:pt>
                <c:pt idx="479">
                  <c:v>4.9541284402999999E-2</c:v>
                </c:pt>
                <c:pt idx="480">
                  <c:v>5.1173708919999998E-2</c:v>
                </c:pt>
                <c:pt idx="481">
                  <c:v>5.2253116011000002E-2</c:v>
                </c:pt>
                <c:pt idx="482">
                  <c:v>5.2216748767999997E-2</c:v>
                </c:pt>
                <c:pt idx="483">
                  <c:v>5.7040082218999998E-2</c:v>
                </c:pt>
                <c:pt idx="484">
                  <c:v>5.8792924036999997E-2</c:v>
                </c:pt>
                <c:pt idx="485">
                  <c:v>5.6643726839E-2</c:v>
                </c:pt>
                <c:pt idx="486">
                  <c:v>5.4639175257000003E-2</c:v>
                </c:pt>
                <c:pt idx="487">
                  <c:v>5.8915537017000003E-2</c:v>
                </c:pt>
                <c:pt idx="488">
                  <c:v>5.7050592034000001E-2</c:v>
                </c:pt>
                <c:pt idx="489">
                  <c:v>5.4669703872E-2</c:v>
                </c:pt>
                <c:pt idx="490">
                  <c:v>4.9295774647000003E-2</c:v>
                </c:pt>
                <c:pt idx="491">
                  <c:v>4.3692307691999999E-2</c:v>
                </c:pt>
                <c:pt idx="492">
                  <c:v>4.4585987261E-2</c:v>
                </c:pt>
                <c:pt idx="493">
                  <c:v>4.8461034707999999E-2</c:v>
                </c:pt>
                <c:pt idx="494">
                  <c:v>4.4282881692000002E-2</c:v>
                </c:pt>
                <c:pt idx="495">
                  <c:v>4.3835616437999998E-2</c:v>
                </c:pt>
                <c:pt idx="496">
                  <c:v>5.1508462104000001E-2</c:v>
                </c:pt>
                <c:pt idx="497">
                  <c:v>5.5423594615000002E-2</c:v>
                </c:pt>
                <c:pt idx="498">
                  <c:v>6.1365600691E-2</c:v>
                </c:pt>
                <c:pt idx="499">
                  <c:v>6.165004533E-2</c:v>
                </c:pt>
                <c:pt idx="500">
                  <c:v>6.1302681992000001E-2</c:v>
                </c:pt>
                <c:pt idx="501">
                  <c:v>6.0265577118999998E-2</c:v>
                </c:pt>
                <c:pt idx="502">
                  <c:v>5.9498956158000001E-2</c:v>
                </c:pt>
                <c:pt idx="503">
                  <c:v>5.4989816699999999E-2</c:v>
                </c:pt>
                <c:pt idx="504">
                  <c:v>4.9049049049000003E-2</c:v>
                </c:pt>
                <c:pt idx="505">
                  <c:v>5.2532833020000003E-2</c:v>
                </c:pt>
                <c:pt idx="506">
                  <c:v>5.0566695726999997E-2</c:v>
                </c:pt>
                <c:pt idx="507">
                  <c:v>5.0119331741999999E-2</c:v>
                </c:pt>
                <c:pt idx="508">
                  <c:v>5.0936329587999998E-2</c:v>
                </c:pt>
                <c:pt idx="509">
                  <c:v>5.6865464631999998E-2</c:v>
                </c:pt>
                <c:pt idx="510">
                  <c:v>5.3560176432999998E-2</c:v>
                </c:pt>
                <c:pt idx="511">
                  <c:v>5.3302433370999998E-2</c:v>
                </c:pt>
                <c:pt idx="512">
                  <c:v>4.9014384655999998E-2</c:v>
                </c:pt>
                <c:pt idx="513">
                  <c:v>4.8529411763999997E-2</c:v>
                </c:pt>
                <c:pt idx="514">
                  <c:v>4.9024058102000001E-2</c:v>
                </c:pt>
                <c:pt idx="515">
                  <c:v>5.0390964378000003E-2</c:v>
                </c:pt>
                <c:pt idx="516">
                  <c:v>4.7004991679999997E-2</c:v>
                </c:pt>
                <c:pt idx="517">
                  <c:v>4.7000382116000002E-2</c:v>
                </c:pt>
                <c:pt idx="518">
                  <c:v>4.5627376424999998E-2</c:v>
                </c:pt>
                <c:pt idx="519">
                  <c:v>4.5732689209999997E-2</c:v>
                </c:pt>
                <c:pt idx="520">
                  <c:v>4.5017075442000003E-2</c:v>
                </c:pt>
                <c:pt idx="521">
                  <c:v>4.2362768496E-2</c:v>
                </c:pt>
                <c:pt idx="522">
                  <c:v>4.2237110399000001E-2</c:v>
                </c:pt>
                <c:pt idx="523">
                  <c:v>4.1437264559999999E-2</c:v>
                </c:pt>
                <c:pt idx="524">
                  <c:v>3.6934950384999998E-2</c:v>
                </c:pt>
                <c:pt idx="525">
                  <c:v>3.4331227684000001E-2</c:v>
                </c:pt>
                <c:pt idx="526">
                  <c:v>3.6539494895000003E-2</c:v>
                </c:pt>
                <c:pt idx="527">
                  <c:v>3.6507936507000002E-2</c:v>
                </c:pt>
                <c:pt idx="528">
                  <c:v>3.7407797680999999E-2</c:v>
                </c:pt>
                <c:pt idx="529">
                  <c:v>3.3997343956999999E-2</c:v>
                </c:pt>
                <c:pt idx="530">
                  <c:v>3.3785581271000002E-2</c:v>
                </c:pt>
                <c:pt idx="531">
                  <c:v>3.6452665941000002E-2</c:v>
                </c:pt>
                <c:pt idx="532">
                  <c:v>3.9484738168000001E-2</c:v>
                </c:pt>
                <c:pt idx="533">
                  <c:v>3.831640058E-2</c:v>
                </c:pt>
                <c:pt idx="534">
                  <c:v>3.7871956716999999E-2</c:v>
                </c:pt>
                <c:pt idx="535">
                  <c:v>3.6252807185999998E-2</c:v>
                </c:pt>
                <c:pt idx="536">
                  <c:v>3.7355371900000003E-2</c:v>
                </c:pt>
                <c:pt idx="537">
                  <c:v>4.1399229781000003E-2</c:v>
                </c:pt>
                <c:pt idx="538">
                  <c:v>4.2404006676999999E-2</c:v>
                </c:pt>
                <c:pt idx="539">
                  <c:v>4.2793563846999998E-2</c:v>
                </c:pt>
                <c:pt idx="540">
                  <c:v>4.5969125213999998E-2</c:v>
                </c:pt>
                <c:pt idx="541">
                  <c:v>4.7534586731999999E-2</c:v>
                </c:pt>
                <c:pt idx="542">
                  <c:v>4.8726467331000001E-2</c:v>
                </c:pt>
                <c:pt idx="543">
                  <c:v>4.8780487804000003E-2</c:v>
                </c:pt>
                <c:pt idx="544">
                  <c:v>4.8405685747E-2</c:v>
                </c:pt>
                <c:pt idx="545">
                  <c:v>4.7349251315E-2</c:v>
                </c:pt>
                <c:pt idx="546">
                  <c:v>4.8208191126E-2</c:v>
                </c:pt>
                <c:pt idx="547">
                  <c:v>4.3278084713999999E-2</c:v>
                </c:pt>
                <c:pt idx="548">
                  <c:v>4.1565973899999997E-2</c:v>
                </c:pt>
                <c:pt idx="549">
                  <c:v>3.8830055470999998E-2</c:v>
                </c:pt>
                <c:pt idx="550">
                  <c:v>3.606027987000000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556-4824-AE7D-99D3A7D251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PROC_HOSP_JIP_v_den_pozitivity_7dni_z_HOSP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53</c:f>
              <c:numCache>
                <c:formatCode>m/d/yyyy</c:formatCode>
                <c:ptCount val="55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</c:numCache>
            </c:numRef>
          </c:cat>
          <c:val>
            <c:numRef>
              <c:f>Sheet1!$B$2:$B$553</c:f>
              <c:numCache>
                <c:formatCode>0.0%</c:formatCode>
                <c:ptCount val="552"/>
                <c:pt idx="0">
                  <c:v>6.4198473284100004</c:v>
                </c:pt>
                <c:pt idx="1">
                  <c:v>6.9259259263599997</c:v>
                </c:pt>
                <c:pt idx="2">
                  <c:v>3.3200000001199999</c:v>
                </c:pt>
                <c:pt idx="3">
                  <c:v>1.53881987579</c:v>
                </c:pt>
                <c:pt idx="4">
                  <c:v>1.22905027932</c:v>
                </c:pt>
                <c:pt idx="5">
                  <c:v>1.34673913042</c:v>
                </c:pt>
                <c:pt idx="6">
                  <c:v>0.19538378957999999</c:v>
                </c:pt>
                <c:pt idx="7">
                  <c:v>-5.3738317760000001E-2</c:v>
                </c:pt>
                <c:pt idx="8">
                  <c:v>-1.8595041319999998E-2</c:v>
                </c:pt>
                <c:pt idx="9">
                  <c:v>-0.19834024895999999</c:v>
                </c:pt>
                <c:pt idx="10">
                  <c:v>-0.2251082251</c:v>
                </c:pt>
                <c:pt idx="11">
                  <c:v>-0.21508756173999999</c:v>
                </c:pt>
                <c:pt idx="12">
                  <c:v>-0.28125</c:v>
                </c:pt>
                <c:pt idx="13">
                  <c:v>-8.1129943489999995E-2</c:v>
                </c:pt>
                <c:pt idx="14">
                  <c:v>-7.9707940369999994E-2</c:v>
                </c:pt>
                <c:pt idx="15">
                  <c:v>-0.20818399042999999</c:v>
                </c:pt>
                <c:pt idx="16">
                  <c:v>-2.1186440680000002E-2</c:v>
                </c:pt>
                <c:pt idx="17">
                  <c:v>-0.22933081206</c:v>
                </c:pt>
                <c:pt idx="18">
                  <c:v>-3.4602076119999998E-2</c:v>
                </c:pt>
                <c:pt idx="19">
                  <c:v>5.9245960479999998E-2</c:v>
                </c:pt>
                <c:pt idx="20">
                  <c:v>-2.4393442630000001E-2</c:v>
                </c:pt>
                <c:pt idx="21">
                  <c:v>0.19451976594000001</c:v>
                </c:pt>
                <c:pt idx="22">
                  <c:v>0.24867724867999999</c:v>
                </c:pt>
                <c:pt idx="23">
                  <c:v>0.41126760563999998</c:v>
                </c:pt>
                <c:pt idx="24">
                  <c:v>0.43346508564000003</c:v>
                </c:pt>
                <c:pt idx="25">
                  <c:v>0.14891210326000001</c:v>
                </c:pt>
                <c:pt idx="26">
                  <c:v>3.5965705200000003E-2</c:v>
                </c:pt>
                <c:pt idx="27">
                  <c:v>0.10695102684</c:v>
                </c:pt>
                <c:pt idx="28">
                  <c:v>-5.3398058259999999E-2</c:v>
                </c:pt>
                <c:pt idx="29">
                  <c:v>-0.16078702355999999</c:v>
                </c:pt>
                <c:pt idx="30">
                  <c:v>-0.17523052561999999</c:v>
                </c:pt>
                <c:pt idx="31">
                  <c:v>-0.15327643568999999</c:v>
                </c:pt>
                <c:pt idx="32">
                  <c:v>5.3349875939999999E-2</c:v>
                </c:pt>
                <c:pt idx="33">
                  <c:v>4.0010059090000001E-2</c:v>
                </c:pt>
                <c:pt idx="34">
                  <c:v>4.8492834780000001E-2</c:v>
                </c:pt>
                <c:pt idx="35">
                  <c:v>0.21141866747999999</c:v>
                </c:pt>
                <c:pt idx="36">
                  <c:v>0.27147196666000001</c:v>
                </c:pt>
                <c:pt idx="37">
                  <c:v>0.19438035596</c:v>
                </c:pt>
                <c:pt idx="38">
                  <c:v>5.0639386180000003E-2</c:v>
                </c:pt>
                <c:pt idx="39">
                  <c:v>-6.7775862739999998E-2</c:v>
                </c:pt>
                <c:pt idx="40">
                  <c:v>1.52355251E-3</c:v>
                </c:pt>
                <c:pt idx="41">
                  <c:v>-0.12345563068</c:v>
                </c:pt>
                <c:pt idx="42">
                  <c:v>-0.23526283677000001</c:v>
                </c:pt>
                <c:pt idx="43">
                  <c:v>-0.2351519919</c:v>
                </c:pt>
                <c:pt idx="44">
                  <c:v>-0.23981432254999999</c:v>
                </c:pt>
                <c:pt idx="45">
                  <c:v>-0.19184909726999999</c:v>
                </c:pt>
                <c:pt idx="46">
                  <c:v>-0.23255936279</c:v>
                </c:pt>
                <c:pt idx="47">
                  <c:v>-0.19179862995999999</c:v>
                </c:pt>
                <c:pt idx="48">
                  <c:v>-0.13386845194999999</c:v>
                </c:pt>
                <c:pt idx="49">
                  <c:v>-6.2842278200000004E-2</c:v>
                </c:pt>
                <c:pt idx="50">
                  <c:v>-7.9223377119999994E-2</c:v>
                </c:pt>
                <c:pt idx="51">
                  <c:v>-8.7579344079999996E-2</c:v>
                </c:pt>
                <c:pt idx="52">
                  <c:v>-8.1540490539999996E-2</c:v>
                </c:pt>
                <c:pt idx="53">
                  <c:v>-4.0809850209999998E-2</c:v>
                </c:pt>
                <c:pt idx="54">
                  <c:v>-3.2010551720000002E-2</c:v>
                </c:pt>
                <c:pt idx="55">
                  <c:v>-1.75557057E-3</c:v>
                </c:pt>
                <c:pt idx="56">
                  <c:v>-2.521227568E-2</c:v>
                </c:pt>
                <c:pt idx="57">
                  <c:v>-5.0213781450000002E-2</c:v>
                </c:pt>
                <c:pt idx="58">
                  <c:v>4.4738792210000003E-2</c:v>
                </c:pt>
                <c:pt idx="59">
                  <c:v>-2.8011204500000002E-3</c:v>
                </c:pt>
                <c:pt idx="60">
                  <c:v>-1.2441699150000001E-2</c:v>
                </c:pt>
                <c:pt idx="61">
                  <c:v>-4.9190852530000002E-2</c:v>
                </c:pt>
                <c:pt idx="62">
                  <c:v>-7.3068885920000007E-2</c:v>
                </c:pt>
                <c:pt idx="63">
                  <c:v>-5.6281771969999998E-2</c:v>
                </c:pt>
                <c:pt idx="64">
                  <c:v>-9.0491302770000004E-2</c:v>
                </c:pt>
                <c:pt idx="65">
                  <c:v>-0.10018638838</c:v>
                </c:pt>
                <c:pt idx="66">
                  <c:v>-8.2830041739999999E-2</c:v>
                </c:pt>
                <c:pt idx="67">
                  <c:v>-0.10680485145</c:v>
                </c:pt>
                <c:pt idx="68">
                  <c:v>-8.8414634150000004E-2</c:v>
                </c:pt>
                <c:pt idx="69">
                  <c:v>-7.9092614209999995E-2</c:v>
                </c:pt>
                <c:pt idx="70">
                  <c:v>-7.8789359059999994E-2</c:v>
                </c:pt>
                <c:pt idx="71">
                  <c:v>-6.9395130200000002E-2</c:v>
                </c:pt>
                <c:pt idx="72">
                  <c:v>-0.13382531022999999</c:v>
                </c:pt>
                <c:pt idx="73">
                  <c:v>-0.16958333332</c:v>
                </c:pt>
                <c:pt idx="74">
                  <c:v>-0.14171634415000001</c:v>
                </c:pt>
                <c:pt idx="75">
                  <c:v>-0.15244685844</c:v>
                </c:pt>
                <c:pt idx="76">
                  <c:v>-0.12596155221999999</c:v>
                </c:pt>
                <c:pt idx="77">
                  <c:v>-0.10323068819</c:v>
                </c:pt>
                <c:pt idx="78">
                  <c:v>-2.9219129850000001E-2</c:v>
                </c:pt>
                <c:pt idx="79">
                  <c:v>-4.3125317200000002E-3</c:v>
                </c:pt>
                <c:pt idx="80">
                  <c:v>3.4177590639999998E-2</c:v>
                </c:pt>
                <c:pt idx="81">
                  <c:v>0.11386679651999999</c:v>
                </c:pt>
                <c:pt idx="82">
                  <c:v>0.10099536445</c:v>
                </c:pt>
                <c:pt idx="83">
                  <c:v>7.4199036800000001E-3</c:v>
                </c:pt>
                <c:pt idx="84">
                  <c:v>-4.4583634189999999E-2</c:v>
                </c:pt>
                <c:pt idx="85">
                  <c:v>6.7788346190000001E-2</c:v>
                </c:pt>
                <c:pt idx="86">
                  <c:v>4.9929357030000003E-2</c:v>
                </c:pt>
                <c:pt idx="87">
                  <c:v>1.029714621E-2</c:v>
                </c:pt>
                <c:pt idx="88">
                  <c:v>-7.2056999070000002E-2</c:v>
                </c:pt>
                <c:pt idx="89">
                  <c:v>-9.9343856300000005E-3</c:v>
                </c:pt>
                <c:pt idx="90">
                  <c:v>0.10965321773</c:v>
                </c:pt>
                <c:pt idx="91">
                  <c:v>3.7394957970000003E-2</c:v>
                </c:pt>
                <c:pt idx="92">
                  <c:v>1.118774889E-2</c:v>
                </c:pt>
                <c:pt idx="93">
                  <c:v>8.3439118770000001E-2</c:v>
                </c:pt>
                <c:pt idx="94">
                  <c:v>0.17541674572999999</c:v>
                </c:pt>
                <c:pt idx="95">
                  <c:v>0.17564233544999999</c:v>
                </c:pt>
                <c:pt idx="96">
                  <c:v>0.10474340213</c:v>
                </c:pt>
                <c:pt idx="97">
                  <c:v>6.1670569879999998E-2</c:v>
                </c:pt>
                <c:pt idx="98">
                  <c:v>8.304279262E-2</c:v>
                </c:pt>
                <c:pt idx="99">
                  <c:v>-3.5127150070000002E-2</c:v>
                </c:pt>
                <c:pt idx="100">
                  <c:v>-0.10931296037</c:v>
                </c:pt>
                <c:pt idx="101">
                  <c:v>-0.11319089472</c:v>
                </c:pt>
                <c:pt idx="102">
                  <c:v>-0.10103824851</c:v>
                </c:pt>
                <c:pt idx="103">
                  <c:v>-6.4475743360000004E-2</c:v>
                </c:pt>
                <c:pt idx="104">
                  <c:v>-2.8475090790000001E-2</c:v>
                </c:pt>
                <c:pt idx="105">
                  <c:v>-6.013986013E-2</c:v>
                </c:pt>
                <c:pt idx="106">
                  <c:v>1.433213897E-2</c:v>
                </c:pt>
                <c:pt idx="107">
                  <c:v>3.4990448680000001E-2</c:v>
                </c:pt>
                <c:pt idx="108">
                  <c:v>-4.4989600740000003E-2</c:v>
                </c:pt>
                <c:pt idx="109">
                  <c:v>-4.9676880940000001E-2</c:v>
                </c:pt>
                <c:pt idx="110">
                  <c:v>-0.10163019796</c:v>
                </c:pt>
                <c:pt idx="111">
                  <c:v>-9.7960992910000003E-2</c:v>
                </c:pt>
                <c:pt idx="112">
                  <c:v>1.7453602209999999E-2</c:v>
                </c:pt>
                <c:pt idx="113">
                  <c:v>1.2951405859999999E-2</c:v>
                </c:pt>
                <c:pt idx="114">
                  <c:v>9.2292633380000003E-2</c:v>
                </c:pt>
                <c:pt idx="115">
                  <c:v>0.15030483006000001</c:v>
                </c:pt>
                <c:pt idx="116">
                  <c:v>0.17904082772999999</c:v>
                </c:pt>
                <c:pt idx="117">
                  <c:v>0.24057914963999999</c:v>
                </c:pt>
                <c:pt idx="118">
                  <c:v>0.16395154856999999</c:v>
                </c:pt>
                <c:pt idx="119">
                  <c:v>0.1307441701</c:v>
                </c:pt>
                <c:pt idx="120">
                  <c:v>0.12110995633</c:v>
                </c:pt>
                <c:pt idx="121">
                  <c:v>6.0301972010000003E-2</c:v>
                </c:pt>
                <c:pt idx="122">
                  <c:v>3.567157847E-2</c:v>
                </c:pt>
                <c:pt idx="123">
                  <c:v>6.6874054299999996E-3</c:v>
                </c:pt>
                <c:pt idx="124">
                  <c:v>-4.3224832550000002E-2</c:v>
                </c:pt>
                <c:pt idx="125">
                  <c:v>-9.5781791399999996E-2</c:v>
                </c:pt>
                <c:pt idx="126">
                  <c:v>-0.13321699474000001</c:v>
                </c:pt>
                <c:pt idx="127">
                  <c:v>-0.15737904302</c:v>
                </c:pt>
                <c:pt idx="128">
                  <c:v>-0.19215984991999999</c:v>
                </c:pt>
                <c:pt idx="129">
                  <c:v>-0.17409987774999999</c:v>
                </c:pt>
                <c:pt idx="130">
                  <c:v>-0.16800845025</c:v>
                </c:pt>
                <c:pt idx="131">
                  <c:v>-8.6693489070000004E-2</c:v>
                </c:pt>
                <c:pt idx="132">
                  <c:v>-9.4212616459999995E-2</c:v>
                </c:pt>
                <c:pt idx="133">
                  <c:v>-8.8171650870000007E-2</c:v>
                </c:pt>
                <c:pt idx="134">
                  <c:v>-5.011109717E-2</c:v>
                </c:pt>
                <c:pt idx="135">
                  <c:v>1.6605789249999999E-2</c:v>
                </c:pt>
                <c:pt idx="136">
                  <c:v>1.534765091E-2</c:v>
                </c:pt>
                <c:pt idx="137">
                  <c:v>-3.4586466160000003E-2</c:v>
                </c:pt>
                <c:pt idx="138">
                  <c:v>-6.3854516920000007E-2</c:v>
                </c:pt>
                <c:pt idx="139">
                  <c:v>5.5161611739999998E-2</c:v>
                </c:pt>
                <c:pt idx="140">
                  <c:v>0.10787568842</c:v>
                </c:pt>
                <c:pt idx="141">
                  <c:v>4.6269810369999997E-2</c:v>
                </c:pt>
                <c:pt idx="142">
                  <c:v>-2.1250745549999998E-2</c:v>
                </c:pt>
                <c:pt idx="143">
                  <c:v>2.0444915260000002E-2</c:v>
                </c:pt>
                <c:pt idx="144">
                  <c:v>8.0371875829999995E-2</c:v>
                </c:pt>
                <c:pt idx="145">
                  <c:v>4.6423590090000001E-2</c:v>
                </c:pt>
                <c:pt idx="146">
                  <c:v>-1.10739639E-3</c:v>
                </c:pt>
                <c:pt idx="147">
                  <c:v>2.0545127109999999E-2</c:v>
                </c:pt>
                <c:pt idx="148">
                  <c:v>3.794522493E-2</c:v>
                </c:pt>
                <c:pt idx="149">
                  <c:v>3.576894957E-2</c:v>
                </c:pt>
                <c:pt idx="150">
                  <c:v>5.975891254E-2</c:v>
                </c:pt>
                <c:pt idx="151">
                  <c:v>5.5228871190000001E-2</c:v>
                </c:pt>
                <c:pt idx="152">
                  <c:v>6.1282211959999999E-2</c:v>
                </c:pt>
                <c:pt idx="153">
                  <c:v>1.86797631E-2</c:v>
                </c:pt>
                <c:pt idx="154">
                  <c:v>-2.0947823420000001E-2</c:v>
                </c:pt>
                <c:pt idx="155">
                  <c:v>1.345481948E-2</c:v>
                </c:pt>
                <c:pt idx="156">
                  <c:v>7.2674075840000005E-2</c:v>
                </c:pt>
                <c:pt idx="157">
                  <c:v>3.9830389289999997E-2</c:v>
                </c:pt>
                <c:pt idx="158">
                  <c:v>2.2121040129999998E-2</c:v>
                </c:pt>
                <c:pt idx="159">
                  <c:v>4.6618638599999996E-3</c:v>
                </c:pt>
                <c:pt idx="160">
                  <c:v>8.5797484950000003E-2</c:v>
                </c:pt>
                <c:pt idx="161">
                  <c:v>6.5945428589999994E-2</c:v>
                </c:pt>
                <c:pt idx="162">
                  <c:v>1.6492394350000002E-2</c:v>
                </c:pt>
                <c:pt idx="163">
                  <c:v>-5.9575962009999997E-2</c:v>
                </c:pt>
                <c:pt idx="164">
                  <c:v>-0.12048208008</c:v>
                </c:pt>
                <c:pt idx="165">
                  <c:v>-0.11394166442000001</c:v>
                </c:pt>
                <c:pt idx="166">
                  <c:v>-0.10048834293</c:v>
                </c:pt>
                <c:pt idx="167">
                  <c:v>-0.11740396705</c:v>
                </c:pt>
                <c:pt idx="168">
                  <c:v>-8.8640347800000005E-2</c:v>
                </c:pt>
                <c:pt idx="169">
                  <c:v>-1.6508711830000002E-2</c:v>
                </c:pt>
                <c:pt idx="170">
                  <c:v>3.1504926179999997E-2</c:v>
                </c:pt>
                <c:pt idx="171">
                  <c:v>8.0045681039999997E-2</c:v>
                </c:pt>
                <c:pt idx="172">
                  <c:v>9.5390156049999994E-2</c:v>
                </c:pt>
                <c:pt idx="173">
                  <c:v>0.10302378126</c:v>
                </c:pt>
                <c:pt idx="174">
                  <c:v>4.7303825600000004E-3</c:v>
                </c:pt>
                <c:pt idx="175">
                  <c:v>-3.584020827E-2</c:v>
                </c:pt>
                <c:pt idx="176">
                  <c:v>-1.777417693E-2</c:v>
                </c:pt>
                <c:pt idx="177">
                  <c:v>-5.4366804899999999E-3</c:v>
                </c:pt>
                <c:pt idx="178">
                  <c:v>-5.2590087760000001E-2</c:v>
                </c:pt>
                <c:pt idx="179">
                  <c:v>-6.5233785820000001E-2</c:v>
                </c:pt>
                <c:pt idx="180">
                  <c:v>-4.2315181479999998E-2</c:v>
                </c:pt>
                <c:pt idx="181">
                  <c:v>-3.9460005239999998E-2</c:v>
                </c:pt>
                <c:pt idx="182">
                  <c:v>-3.4236069670000001E-2</c:v>
                </c:pt>
                <c:pt idx="183">
                  <c:v>-7.7296363310000005E-2</c:v>
                </c:pt>
                <c:pt idx="184">
                  <c:v>-3.7000910380000002E-2</c:v>
                </c:pt>
                <c:pt idx="185">
                  <c:v>-4.4671346400000003E-3</c:v>
                </c:pt>
                <c:pt idx="186">
                  <c:v>-4.6193198009999999E-2</c:v>
                </c:pt>
                <c:pt idx="187">
                  <c:v>-6.4567040270000001E-2</c:v>
                </c:pt>
                <c:pt idx="188">
                  <c:v>-4.4283665329999999E-2</c:v>
                </c:pt>
                <c:pt idx="189">
                  <c:v>-7.2489936059999996E-2</c:v>
                </c:pt>
                <c:pt idx="190">
                  <c:v>-9.8433688409999998E-2</c:v>
                </c:pt>
                <c:pt idx="191">
                  <c:v>-0.14239910885000001</c:v>
                </c:pt>
                <c:pt idx="192">
                  <c:v>-0.14887963066000001</c:v>
                </c:pt>
                <c:pt idx="193">
                  <c:v>-7.0423045140000001E-2</c:v>
                </c:pt>
                <c:pt idx="194">
                  <c:v>-9.9329245930000004E-2</c:v>
                </c:pt>
                <c:pt idx="195">
                  <c:v>-9.1939546600000005E-2</c:v>
                </c:pt>
                <c:pt idx="196">
                  <c:v>-4.9427653510000003E-2</c:v>
                </c:pt>
                <c:pt idx="197">
                  <c:v>-7.0609812349999995E-2</c:v>
                </c:pt>
                <c:pt idx="198">
                  <c:v>-5.6829299819999998E-2</c:v>
                </c:pt>
                <c:pt idx="199">
                  <c:v>-4.9188059899999997E-2</c:v>
                </c:pt>
                <c:pt idx="200">
                  <c:v>-7.7170131919999996E-2</c:v>
                </c:pt>
                <c:pt idx="201">
                  <c:v>-1.867376812E-2</c:v>
                </c:pt>
                <c:pt idx="202">
                  <c:v>4.2334799659999998E-2</c:v>
                </c:pt>
                <c:pt idx="203">
                  <c:v>6.8653527290000002E-2</c:v>
                </c:pt>
                <c:pt idx="204">
                  <c:v>0.14129468947000001</c:v>
                </c:pt>
                <c:pt idx="205">
                  <c:v>8.1514813790000001E-2</c:v>
                </c:pt>
                <c:pt idx="206">
                  <c:v>9.3976665939999995E-2</c:v>
                </c:pt>
                <c:pt idx="207">
                  <c:v>7.5799914920000003E-2</c:v>
                </c:pt>
                <c:pt idx="208">
                  <c:v>-1.0364004019999999E-2</c:v>
                </c:pt>
                <c:pt idx="209">
                  <c:v>-6.815914662E-2</c:v>
                </c:pt>
                <c:pt idx="210">
                  <c:v>-0.12334463733999999</c:v>
                </c:pt>
                <c:pt idx="211">
                  <c:v>-9.4058516480000007E-2</c:v>
                </c:pt>
                <c:pt idx="212">
                  <c:v>-5.659470288E-2</c:v>
                </c:pt>
                <c:pt idx="213">
                  <c:v>-3.8049495359999998E-2</c:v>
                </c:pt>
                <c:pt idx="214">
                  <c:v>-3.118367348E-2</c:v>
                </c:pt>
                <c:pt idx="215">
                  <c:v>2.489237913E-2</c:v>
                </c:pt>
                <c:pt idx="216">
                  <c:v>0.10766722218999999</c:v>
                </c:pt>
                <c:pt idx="217">
                  <c:v>7.7240659789999999E-2</c:v>
                </c:pt>
                <c:pt idx="218">
                  <c:v>3.7447952149999998E-2</c:v>
                </c:pt>
                <c:pt idx="219">
                  <c:v>9.1402350909999999E-2</c:v>
                </c:pt>
                <c:pt idx="220">
                  <c:v>4.1976778809999997E-2</c:v>
                </c:pt>
                <c:pt idx="221">
                  <c:v>0.14341055743</c:v>
                </c:pt>
                <c:pt idx="222">
                  <c:v>0.14604690107000001</c:v>
                </c:pt>
                <c:pt idx="223">
                  <c:v>0.19593702537999999</c:v>
                </c:pt>
                <c:pt idx="224">
                  <c:v>0.36369998428</c:v>
                </c:pt>
                <c:pt idx="225">
                  <c:v>0.23075998220999999</c:v>
                </c:pt>
                <c:pt idx="226">
                  <c:v>0.15152185055</c:v>
                </c:pt>
                <c:pt idx="227">
                  <c:v>0.14749724266</c:v>
                </c:pt>
                <c:pt idx="228">
                  <c:v>4.5340971399999999E-2</c:v>
                </c:pt>
                <c:pt idx="229">
                  <c:v>-3.2390712150000001E-2</c:v>
                </c:pt>
                <c:pt idx="230">
                  <c:v>-0.15468424706</c:v>
                </c:pt>
                <c:pt idx="231">
                  <c:v>-0.14830058562000001</c:v>
                </c:pt>
                <c:pt idx="232">
                  <c:v>-1.0959760670000001E-2</c:v>
                </c:pt>
                <c:pt idx="233">
                  <c:v>1.120632257E-2</c:v>
                </c:pt>
                <c:pt idx="234">
                  <c:v>6.2948703090000002E-2</c:v>
                </c:pt>
                <c:pt idx="235">
                  <c:v>0.11210208050000001</c:v>
                </c:pt>
                <c:pt idx="236">
                  <c:v>0.24886877829000001</c:v>
                </c:pt>
                <c:pt idx="237">
                  <c:v>0.22928417746999999</c:v>
                </c:pt>
                <c:pt idx="238">
                  <c:v>0.14281603556</c:v>
                </c:pt>
                <c:pt idx="239">
                  <c:v>0.12174976044999999</c:v>
                </c:pt>
                <c:pt idx="240">
                  <c:v>7.7495203210000002E-2</c:v>
                </c:pt>
                <c:pt idx="241">
                  <c:v>2.2392391500000001E-2</c:v>
                </c:pt>
                <c:pt idx="242">
                  <c:v>-0.15698256863000001</c:v>
                </c:pt>
                <c:pt idx="243">
                  <c:v>-0.2360435156</c:v>
                </c:pt>
                <c:pt idx="244">
                  <c:v>-0.16227865102</c:v>
                </c:pt>
                <c:pt idx="245">
                  <c:v>-0.19559709424999999</c:v>
                </c:pt>
                <c:pt idx="246">
                  <c:v>-0.23921864130000001</c:v>
                </c:pt>
                <c:pt idx="247">
                  <c:v>-0.24975433998999999</c:v>
                </c:pt>
                <c:pt idx="248">
                  <c:v>-8.2209886329999995E-2</c:v>
                </c:pt>
                <c:pt idx="249">
                  <c:v>0.15992561599999999</c:v>
                </c:pt>
                <c:pt idx="250">
                  <c:v>0.18316341827999999</c:v>
                </c:pt>
                <c:pt idx="251">
                  <c:v>0.13255360622000001</c:v>
                </c:pt>
                <c:pt idx="252">
                  <c:v>0.23341040460000001</c:v>
                </c:pt>
                <c:pt idx="253">
                  <c:v>0.35546613011</c:v>
                </c:pt>
                <c:pt idx="254">
                  <c:v>0.25231726696000001</c:v>
                </c:pt>
                <c:pt idx="255">
                  <c:v>6.7697594479999998E-2</c:v>
                </c:pt>
                <c:pt idx="256">
                  <c:v>-5.1028145759999997E-2</c:v>
                </c:pt>
                <c:pt idx="257">
                  <c:v>-0.13544057918999999</c:v>
                </c:pt>
                <c:pt idx="258">
                  <c:v>-0.18981267345</c:v>
                </c:pt>
                <c:pt idx="259">
                  <c:v>-0.15654168892000001</c:v>
                </c:pt>
                <c:pt idx="260">
                  <c:v>-0.17192982456</c:v>
                </c:pt>
                <c:pt idx="261">
                  <c:v>-0.15301455301</c:v>
                </c:pt>
                <c:pt idx="262">
                  <c:v>-4.5489512279999998E-2</c:v>
                </c:pt>
                <c:pt idx="263">
                  <c:v>0.32256036216</c:v>
                </c:pt>
                <c:pt idx="264">
                  <c:v>0.47826785573000002</c:v>
                </c:pt>
                <c:pt idx="265">
                  <c:v>0.32922802318</c:v>
                </c:pt>
                <c:pt idx="266">
                  <c:v>0.22165820642</c:v>
                </c:pt>
                <c:pt idx="267">
                  <c:v>0.30088823095</c:v>
                </c:pt>
                <c:pt idx="268">
                  <c:v>0.41304902960000001</c:v>
                </c:pt>
                <c:pt idx="269">
                  <c:v>-4.1234627439999998E-2</c:v>
                </c:pt>
                <c:pt idx="270">
                  <c:v>-0.39141914190999999</c:v>
                </c:pt>
                <c:pt idx="271">
                  <c:v>-0.12262156448</c:v>
                </c:pt>
                <c:pt idx="272">
                  <c:v>9.1412742389999996E-2</c:v>
                </c:pt>
                <c:pt idx="273">
                  <c:v>0.11976792375</c:v>
                </c:pt>
                <c:pt idx="274">
                  <c:v>-0.19274376416</c:v>
                </c:pt>
                <c:pt idx="275">
                  <c:v>-6.3967136140000005E-2</c:v>
                </c:pt>
                <c:pt idx="276">
                  <c:v>0.80895522386999996</c:v>
                </c:pt>
                <c:pt idx="277">
                  <c:v>0.20050761421999999</c:v>
                </c:pt>
                <c:pt idx="278">
                  <c:v>-0.37362637362000001</c:v>
                </c:pt>
                <c:pt idx="279">
                  <c:v>-0.41474654376999998</c:v>
                </c:pt>
                <c:pt idx="280">
                  <c:v>-0.44000000001</c:v>
                </c:pt>
                <c:pt idx="281">
                  <c:v>-0.32913385826000002</c:v>
                </c:pt>
                <c:pt idx="282">
                  <c:v>-0.19599999999000001</c:v>
                </c:pt>
                <c:pt idx="283">
                  <c:v>-0.33050127440999999</c:v>
                </c:pt>
                <c:pt idx="284">
                  <c:v>0.51666666666000005</c:v>
                </c:pt>
                <c:pt idx="285">
                  <c:v>0.66666666665999996</c:v>
                </c:pt>
                <c:pt idx="286">
                  <c:v>1.13068181822</c:v>
                </c:pt>
                <c:pt idx="287">
                  <c:v>1.57432432433</c:v>
                </c:pt>
                <c:pt idx="288">
                  <c:v>0.92307692306</c:v>
                </c:pt>
                <c:pt idx="289">
                  <c:v>0.13028169011999999</c:v>
                </c:pt>
                <c:pt idx="290">
                  <c:v>0.15942028984000001</c:v>
                </c:pt>
                <c:pt idx="291">
                  <c:v>4.7887323939999997E-2</c:v>
                </c:pt>
                <c:pt idx="292">
                  <c:v>0.29411764704999999</c:v>
                </c:pt>
                <c:pt idx="293">
                  <c:v>-7.9601990050000002E-2</c:v>
                </c:pt>
                <c:pt idx="294">
                  <c:v>-0.33333333332999998</c:v>
                </c:pt>
                <c:pt idx="295">
                  <c:v>7.5757575760000001E-2</c:v>
                </c:pt>
                <c:pt idx="296">
                  <c:v>0.50000000001</c:v>
                </c:pt>
                <c:pt idx="297">
                  <c:v>0.21022727271</c:v>
                </c:pt>
                <c:pt idx="298">
                  <c:v>-0.24444444443999999</c:v>
                </c:pt>
                <c:pt idx="299">
                  <c:v>-0.62777777777999999</c:v>
                </c:pt>
                <c:pt idx="300">
                  <c:v>-7.1428571430000004E-2</c:v>
                </c:pt>
                <c:pt idx="301">
                  <c:v>0.46666666666000001</c:v>
                </c:pt>
                <c:pt idx="302">
                  <c:v>0.39393939393999999</c:v>
                </c:pt>
                <c:pt idx="303">
                  <c:v>0.33333333333999998</c:v>
                </c:pt>
                <c:pt idx="304">
                  <c:v>0.86206896553000001</c:v>
                </c:pt>
                <c:pt idx="305">
                  <c:v>2.72413793113</c:v>
                </c:pt>
                <c:pt idx="306">
                  <c:v>0.75000000002</c:v>
                </c:pt>
                <c:pt idx="307">
                  <c:v>0.80000000001000005</c:v>
                </c:pt>
                <c:pt idx="309">
                  <c:v>0.41935483870000001</c:v>
                </c:pt>
                <c:pt idx="310">
                  <c:v>-0.22666666665999999</c:v>
                </c:pt>
                <c:pt idx="311">
                  <c:v>-0.25641025640999998</c:v>
                </c:pt>
                <c:pt idx="312">
                  <c:v>0.11111111110999999</c:v>
                </c:pt>
                <c:pt idx="313">
                  <c:v>-0.16666666665999999</c:v>
                </c:pt>
                <c:pt idx="316">
                  <c:v>0.31578947366999999</c:v>
                </c:pt>
                <c:pt idx="317">
                  <c:v>8.3333333329999995E-2</c:v>
                </c:pt>
                <c:pt idx="318">
                  <c:v>-5.2631578950000001E-2</c:v>
                </c:pt>
                <c:pt idx="319">
                  <c:v>8.1081081080000006E-2</c:v>
                </c:pt>
                <c:pt idx="320">
                  <c:v>-2.7777777770000001E-2</c:v>
                </c:pt>
                <c:pt idx="322">
                  <c:v>0.25</c:v>
                </c:pt>
                <c:pt idx="323">
                  <c:v>-7.692307692E-2</c:v>
                </c:pt>
                <c:pt idx="324">
                  <c:v>-0.26923076922</c:v>
                </c:pt>
                <c:pt idx="325">
                  <c:v>-0.26973684209999998</c:v>
                </c:pt>
                <c:pt idx="326">
                  <c:v>-9.9999999990000005E-2</c:v>
                </c:pt>
                <c:pt idx="327">
                  <c:v>-0.33152173911999999</c:v>
                </c:pt>
                <c:pt idx="328">
                  <c:v>-0.54399999999000004</c:v>
                </c:pt>
                <c:pt idx="329">
                  <c:v>-0.45833333333999998</c:v>
                </c:pt>
                <c:pt idx="330">
                  <c:v>-0.20408163266000001</c:v>
                </c:pt>
                <c:pt idx="331">
                  <c:v>-6.1728395060000003E-2</c:v>
                </c:pt>
                <c:pt idx="332">
                  <c:v>0.25786163521</c:v>
                </c:pt>
                <c:pt idx="333">
                  <c:v>0.47435897435000002</c:v>
                </c:pt>
                <c:pt idx="334">
                  <c:v>1.0833333333299999</c:v>
                </c:pt>
                <c:pt idx="335">
                  <c:v>1.7906976744500001</c:v>
                </c:pt>
                <c:pt idx="336">
                  <c:v>1.27906976746</c:v>
                </c:pt>
                <c:pt idx="337">
                  <c:v>0.6875</c:v>
                </c:pt>
                <c:pt idx="338">
                  <c:v>0.32500000000000001</c:v>
                </c:pt>
                <c:pt idx="339">
                  <c:v>-7.555555555E-2</c:v>
                </c:pt>
                <c:pt idx="340">
                  <c:v>-0.30434782607999999</c:v>
                </c:pt>
                <c:pt idx="341">
                  <c:v>-0.41363636364</c:v>
                </c:pt>
                <c:pt idx="342">
                  <c:v>-0.31746031744999997</c:v>
                </c:pt>
                <c:pt idx="343">
                  <c:v>-0.47826086956000002</c:v>
                </c:pt>
                <c:pt idx="344">
                  <c:v>-0.21951219512</c:v>
                </c:pt>
                <c:pt idx="345">
                  <c:v>0.30813953489000001</c:v>
                </c:pt>
                <c:pt idx="346">
                  <c:v>0.15</c:v>
                </c:pt>
                <c:pt idx="347">
                  <c:v>0.36434108526999998</c:v>
                </c:pt>
                <c:pt idx="348">
                  <c:v>0.14130434781000001</c:v>
                </c:pt>
                <c:pt idx="349">
                  <c:v>0.56462585034000001</c:v>
                </c:pt>
                <c:pt idx="350">
                  <c:v>4.5918367340000002E-2</c:v>
                </c:pt>
                <c:pt idx="351">
                  <c:v>-0.49411764706</c:v>
                </c:pt>
                <c:pt idx="352">
                  <c:v>-0.28571428572000002</c:v>
                </c:pt>
                <c:pt idx="353">
                  <c:v>-0.10416666666</c:v>
                </c:pt>
                <c:pt idx="354">
                  <c:v>-0.19298245613000001</c:v>
                </c:pt>
                <c:pt idx="355">
                  <c:v>-0.32413793102999999</c:v>
                </c:pt>
                <c:pt idx="356">
                  <c:v>-0.3</c:v>
                </c:pt>
                <c:pt idx="357">
                  <c:v>0.41666666667000002</c:v>
                </c:pt>
                <c:pt idx="358">
                  <c:v>0.37704918032000001</c:v>
                </c:pt>
                <c:pt idx="359">
                  <c:v>-0.17241379309999999</c:v>
                </c:pt>
                <c:pt idx="360">
                  <c:v>-0.37818181818000002</c:v>
                </c:pt>
                <c:pt idx="361">
                  <c:v>-0.19444444444</c:v>
                </c:pt>
                <c:pt idx="362">
                  <c:v>-0.17647058823</c:v>
                </c:pt>
                <c:pt idx="363">
                  <c:v>-0.48936170212000002</c:v>
                </c:pt>
                <c:pt idx="364">
                  <c:v>-0.77407407406999995</c:v>
                </c:pt>
                <c:pt idx="365">
                  <c:v>-0.70999999998999996</c:v>
                </c:pt>
                <c:pt idx="366">
                  <c:v>-0.30817610063</c:v>
                </c:pt>
                <c:pt idx="367">
                  <c:v>0.5</c:v>
                </c:pt>
                <c:pt idx="368">
                  <c:v>0.37096774193999998</c:v>
                </c:pt>
                <c:pt idx="369">
                  <c:v>1.3840579710200001</c:v>
                </c:pt>
                <c:pt idx="370">
                  <c:v>3.9390243902400002</c:v>
                </c:pt>
                <c:pt idx="371">
                  <c:v>4.8139534883500001</c:v>
                </c:pt>
                <c:pt idx="372">
                  <c:v>1.7732558139700001</c:v>
                </c:pt>
                <c:pt idx="373">
                  <c:v>4.347826087E-2</c:v>
                </c:pt>
                <c:pt idx="374">
                  <c:v>-4.6153846149999997E-2</c:v>
                </c:pt>
                <c:pt idx="375">
                  <c:v>-0.28125</c:v>
                </c:pt>
                <c:pt idx="376">
                  <c:v>-0.46925566342000002</c:v>
                </c:pt>
                <c:pt idx="377">
                  <c:v>-0.40173913042999998</c:v>
                </c:pt>
                <c:pt idx="378">
                  <c:v>-0.32283464565999997</c:v>
                </c:pt>
                <c:pt idx="379">
                  <c:v>-0.19767441860000001</c:v>
                </c:pt>
                <c:pt idx="380">
                  <c:v>8.3333333329999995E-2</c:v>
                </c:pt>
                <c:pt idx="381">
                  <c:v>-8.5714285710000004E-2</c:v>
                </c:pt>
                <c:pt idx="382">
                  <c:v>0.16780045351</c:v>
                </c:pt>
                <c:pt idx="383">
                  <c:v>9.8090277759999997E-2</c:v>
                </c:pt>
                <c:pt idx="384">
                  <c:v>-0.28421900160000002</c:v>
                </c:pt>
                <c:pt idx="385">
                  <c:v>-0.45707070707000003</c:v>
                </c:pt>
                <c:pt idx="386">
                  <c:v>-0.45454545454</c:v>
                </c:pt>
                <c:pt idx="387">
                  <c:v>-0.32835820896000001</c:v>
                </c:pt>
                <c:pt idx="388">
                  <c:v>-9.5384615379999996E-2</c:v>
                </c:pt>
                <c:pt idx="389">
                  <c:v>2.1276595749999998E-2</c:v>
                </c:pt>
                <c:pt idx="390">
                  <c:v>0.37862137862</c:v>
                </c:pt>
                <c:pt idx="391">
                  <c:v>1.2285714286</c:v>
                </c:pt>
                <c:pt idx="392">
                  <c:v>1.33112582782</c:v>
                </c:pt>
                <c:pt idx="393">
                  <c:v>1.2333333333800001</c:v>
                </c:pt>
                <c:pt idx="394">
                  <c:v>0.70580110497000004</c:v>
                </c:pt>
                <c:pt idx="395">
                  <c:v>0.17788697786999999</c:v>
                </c:pt>
                <c:pt idx="396">
                  <c:v>0.1171875</c:v>
                </c:pt>
                <c:pt idx="397">
                  <c:v>0.11978568695</c:v>
                </c:pt>
                <c:pt idx="398">
                  <c:v>-0.27073863636000001</c:v>
                </c:pt>
                <c:pt idx="399">
                  <c:v>-5.7377049190000001E-2</c:v>
                </c:pt>
                <c:pt idx="400">
                  <c:v>0.19987946967</c:v>
                </c:pt>
                <c:pt idx="401">
                  <c:v>0.29455499672000002</c:v>
                </c:pt>
                <c:pt idx="402">
                  <c:v>0.46159169550000001</c:v>
                </c:pt>
                <c:pt idx="403">
                  <c:v>0.30425378513000001</c:v>
                </c:pt>
                <c:pt idx="404">
                  <c:v>0.41880007817999998</c:v>
                </c:pt>
                <c:pt idx="405">
                  <c:v>0.22905620361000001</c:v>
                </c:pt>
                <c:pt idx="406">
                  <c:v>-0.22874458874</c:v>
                </c:pt>
                <c:pt idx="407">
                  <c:v>-0.36777506963000001</c:v>
                </c:pt>
                <c:pt idx="408">
                  <c:v>-0.30311068242</c:v>
                </c:pt>
                <c:pt idx="409">
                  <c:v>-0.38371459694999999</c:v>
                </c:pt>
                <c:pt idx="410">
                  <c:v>-0.42992424241999999</c:v>
                </c:pt>
                <c:pt idx="411">
                  <c:v>-0.44431895187999998</c:v>
                </c:pt>
                <c:pt idx="412">
                  <c:v>-0.3677317376</c:v>
                </c:pt>
                <c:pt idx="413">
                  <c:v>-0.30134403698000001</c:v>
                </c:pt>
                <c:pt idx="414">
                  <c:v>-0.41241830064000001</c:v>
                </c:pt>
                <c:pt idx="415">
                  <c:v>-0.43086312117999997</c:v>
                </c:pt>
                <c:pt idx="416">
                  <c:v>-0.29584352077999998</c:v>
                </c:pt>
                <c:pt idx="417">
                  <c:v>-0.18720930231999999</c:v>
                </c:pt>
                <c:pt idx="418">
                  <c:v>-2.454384531E-2</c:v>
                </c:pt>
                <c:pt idx="419">
                  <c:v>6.4685314689999995E-2</c:v>
                </c:pt>
                <c:pt idx="420">
                  <c:v>0.11451178156</c:v>
                </c:pt>
                <c:pt idx="421">
                  <c:v>0.32837783170000001</c:v>
                </c:pt>
                <c:pt idx="422">
                  <c:v>0.25043675748999999</c:v>
                </c:pt>
                <c:pt idx="423">
                  <c:v>-5.965589323E-2</c:v>
                </c:pt>
                <c:pt idx="424">
                  <c:v>-0.22208237272</c:v>
                </c:pt>
                <c:pt idx="425">
                  <c:v>-0.25136920103999999</c:v>
                </c:pt>
                <c:pt idx="426">
                  <c:v>-0.14322089096999999</c:v>
                </c:pt>
                <c:pt idx="427">
                  <c:v>-0.14854999213</c:v>
                </c:pt>
                <c:pt idx="428">
                  <c:v>-0.21968692709000001</c:v>
                </c:pt>
                <c:pt idx="429">
                  <c:v>-0.13844922172999999</c:v>
                </c:pt>
                <c:pt idx="430">
                  <c:v>2.214718504E-2</c:v>
                </c:pt>
                <c:pt idx="431">
                  <c:v>0.19335303277999999</c:v>
                </c:pt>
                <c:pt idx="432">
                  <c:v>0.14858645627</c:v>
                </c:pt>
                <c:pt idx="433">
                  <c:v>3.0086292729999999E-2</c:v>
                </c:pt>
                <c:pt idx="434">
                  <c:v>9.2514010039999997E-2</c:v>
                </c:pt>
                <c:pt idx="435">
                  <c:v>0.20674952975999999</c:v>
                </c:pt>
                <c:pt idx="436">
                  <c:v>7.6824377540000002E-2</c:v>
                </c:pt>
                <c:pt idx="437">
                  <c:v>-1.7451298699999999E-2</c:v>
                </c:pt>
                <c:pt idx="438">
                  <c:v>-7.0853960399999999E-2</c:v>
                </c:pt>
                <c:pt idx="439">
                  <c:v>-4.8525301569999998E-2</c:v>
                </c:pt>
                <c:pt idx="440">
                  <c:v>-7.3774024709999997E-2</c:v>
                </c:pt>
                <c:pt idx="441">
                  <c:v>-0.17174311371000001</c:v>
                </c:pt>
                <c:pt idx="442">
                  <c:v>-0.14285012517000001</c:v>
                </c:pt>
                <c:pt idx="443">
                  <c:v>-9.6512414259999998E-2</c:v>
                </c:pt>
                <c:pt idx="444">
                  <c:v>-0.1021598722</c:v>
                </c:pt>
                <c:pt idx="445">
                  <c:v>-7.6409609340000004E-2</c:v>
                </c:pt>
                <c:pt idx="446">
                  <c:v>3.6085479310000002E-2</c:v>
                </c:pt>
                <c:pt idx="447">
                  <c:v>0.14314558579</c:v>
                </c:pt>
                <c:pt idx="448">
                  <c:v>0.1456216739</c:v>
                </c:pt>
                <c:pt idx="449">
                  <c:v>3.1319101859999997E-2</c:v>
                </c:pt>
                <c:pt idx="450">
                  <c:v>7.2610488449999996E-2</c:v>
                </c:pt>
                <c:pt idx="451">
                  <c:v>6.3673647099999994E-2</c:v>
                </c:pt>
                <c:pt idx="452">
                  <c:v>-3.3238366600000001E-3</c:v>
                </c:pt>
                <c:pt idx="453">
                  <c:v>-0.11108381971</c:v>
                </c:pt>
                <c:pt idx="454">
                  <c:v>-0.17337699974000001</c:v>
                </c:pt>
                <c:pt idx="455">
                  <c:v>-0.11943407136</c:v>
                </c:pt>
                <c:pt idx="456">
                  <c:v>-9.5590003729999998E-2</c:v>
                </c:pt>
                <c:pt idx="457">
                  <c:v>-0.17014545823999999</c:v>
                </c:pt>
                <c:pt idx="458">
                  <c:v>-0.13680413316000001</c:v>
                </c:pt>
                <c:pt idx="459">
                  <c:v>-0.13865325882000001</c:v>
                </c:pt>
                <c:pt idx="460">
                  <c:v>-0.11934453226</c:v>
                </c:pt>
                <c:pt idx="461">
                  <c:v>-7.3392571889999994E-2</c:v>
                </c:pt>
                <c:pt idx="462">
                  <c:v>-0.11387631454</c:v>
                </c:pt>
                <c:pt idx="463">
                  <c:v>-0.11969808844</c:v>
                </c:pt>
                <c:pt idx="464">
                  <c:v>-0.10779889396</c:v>
                </c:pt>
                <c:pt idx="465">
                  <c:v>-0.11837362698999999</c:v>
                </c:pt>
                <c:pt idx="466">
                  <c:v>-5.5051852560000003E-2</c:v>
                </c:pt>
                <c:pt idx="467">
                  <c:v>-6.3291561839999996E-2</c:v>
                </c:pt>
                <c:pt idx="468">
                  <c:v>-8.0137638319999996E-2</c:v>
                </c:pt>
                <c:pt idx="469">
                  <c:v>6.2971010800000005E-2</c:v>
                </c:pt>
                <c:pt idx="470">
                  <c:v>0.1008225341</c:v>
                </c:pt>
                <c:pt idx="471">
                  <c:v>0.15946135679000001</c:v>
                </c:pt>
                <c:pt idx="472">
                  <c:v>0.12502330845000001</c:v>
                </c:pt>
                <c:pt idx="473">
                  <c:v>9.1795061750000004E-2</c:v>
                </c:pt>
                <c:pt idx="474">
                  <c:v>0.13478163772999999</c:v>
                </c:pt>
                <c:pt idx="475">
                  <c:v>0.11537483988</c:v>
                </c:pt>
                <c:pt idx="476">
                  <c:v>2.918726759E-2</c:v>
                </c:pt>
                <c:pt idx="477">
                  <c:v>7.5060034319999996E-2</c:v>
                </c:pt>
                <c:pt idx="478">
                  <c:v>0.18437932691</c:v>
                </c:pt>
                <c:pt idx="479">
                  <c:v>0.29749033285999998</c:v>
                </c:pt>
                <c:pt idx="480">
                  <c:v>0.33309661892999998</c:v>
                </c:pt>
                <c:pt idx="481">
                  <c:v>0.28108698830000001</c:v>
                </c:pt>
                <c:pt idx="482">
                  <c:v>0.33368283093000001</c:v>
                </c:pt>
                <c:pt idx="483">
                  <c:v>0.39959461000000002</c:v>
                </c:pt>
                <c:pt idx="484">
                  <c:v>0.27333096008000002</c:v>
                </c:pt>
                <c:pt idx="485">
                  <c:v>0.14336411583</c:v>
                </c:pt>
                <c:pt idx="486">
                  <c:v>6.7719663279999995E-2</c:v>
                </c:pt>
                <c:pt idx="487">
                  <c:v>0.12750284604000001</c:v>
                </c:pt>
                <c:pt idx="488">
                  <c:v>9.2572658769999996E-2</c:v>
                </c:pt>
                <c:pt idx="489">
                  <c:v>-4.1556362729999997E-2</c:v>
                </c:pt>
                <c:pt idx="490">
                  <c:v>-0.1615355852</c:v>
                </c:pt>
                <c:pt idx="491">
                  <c:v>-0.22864701653</c:v>
                </c:pt>
                <c:pt idx="492">
                  <c:v>-0.18399230859999999</c:v>
                </c:pt>
                <c:pt idx="493">
                  <c:v>-0.17744898609000001</c:v>
                </c:pt>
                <c:pt idx="494">
                  <c:v>-0.22379628127000001</c:v>
                </c:pt>
                <c:pt idx="495">
                  <c:v>-0.19817351597999999</c:v>
                </c:pt>
                <c:pt idx="496">
                  <c:v>4.488594555E-2</c:v>
                </c:pt>
                <c:pt idx="497">
                  <c:v>0.26849776407999998</c:v>
                </c:pt>
                <c:pt idx="498">
                  <c:v>0.37634275834999997</c:v>
                </c:pt>
                <c:pt idx="499">
                  <c:v>0.27215701648000001</c:v>
                </c:pt>
                <c:pt idx="500">
                  <c:v>0.38434265452999999</c:v>
                </c:pt>
                <c:pt idx="501">
                  <c:v>0.37480847803</c:v>
                </c:pt>
                <c:pt idx="502">
                  <c:v>0.15512973456000001</c:v>
                </c:pt>
                <c:pt idx="503">
                  <c:v>-7.8265929500000008E-3</c:v>
                </c:pt>
                <c:pt idx="504">
                  <c:v>-0.20070774998999999</c:v>
                </c:pt>
                <c:pt idx="505">
                  <c:v>-0.14788654673000001</c:v>
                </c:pt>
                <c:pt idx="506">
                  <c:v>-0.17513077594000001</c:v>
                </c:pt>
                <c:pt idx="507">
                  <c:v>-0.16835888515</c:v>
                </c:pt>
                <c:pt idx="508">
                  <c:v>-0.14391221498000001</c:v>
                </c:pt>
                <c:pt idx="509">
                  <c:v>3.4109004980000003E-2</c:v>
                </c:pt>
                <c:pt idx="510">
                  <c:v>9.1971760329999999E-2</c:v>
                </c:pt>
                <c:pt idx="511">
                  <c:v>1.464989239E-2</c:v>
                </c:pt>
                <c:pt idx="512">
                  <c:v>-3.0698289619999999E-2</c:v>
                </c:pt>
                <c:pt idx="513">
                  <c:v>-3.1722689079999998E-2</c:v>
                </c:pt>
                <c:pt idx="514">
                  <c:v>-3.7542388730000001E-2</c:v>
                </c:pt>
                <c:pt idx="515">
                  <c:v>-0.11385645568</c:v>
                </c:pt>
                <c:pt idx="516">
                  <c:v>-0.12238915533</c:v>
                </c:pt>
                <c:pt idx="517">
                  <c:v>-0.11823196159</c:v>
                </c:pt>
                <c:pt idx="518">
                  <c:v>-6.910233097E-2</c:v>
                </c:pt>
                <c:pt idx="519">
                  <c:v>-5.7629434440000002E-2</c:v>
                </c:pt>
                <c:pt idx="520">
                  <c:v>-8.1735025919999996E-2</c:v>
                </c:pt>
                <c:pt idx="521">
                  <c:v>-0.15931816309999999</c:v>
                </c:pt>
                <c:pt idx="522">
                  <c:v>-0.10143350973</c:v>
                </c:pt>
                <c:pt idx="523">
                  <c:v>-0.11836324100999999</c:v>
                </c:pt>
                <c:pt idx="524">
                  <c:v>-0.19050900404000001</c:v>
                </c:pt>
                <c:pt idx="525">
                  <c:v>-0.24930660590000001</c:v>
                </c:pt>
                <c:pt idx="526">
                  <c:v>-0.18831922029000001</c:v>
                </c:pt>
                <c:pt idx="527">
                  <c:v>-0.13820701991000001</c:v>
                </c:pt>
                <c:pt idx="528">
                  <c:v>-0.11433814179</c:v>
                </c:pt>
                <c:pt idx="529">
                  <c:v>-0.17954661539</c:v>
                </c:pt>
                <c:pt idx="530">
                  <c:v>-8.5267993619999996E-2</c:v>
                </c:pt>
                <c:pt idx="531">
                  <c:v>6.1793253550000003E-2</c:v>
                </c:pt>
                <c:pt idx="532">
                  <c:v>8.0604378389999995E-2</c:v>
                </c:pt>
                <c:pt idx="533">
                  <c:v>4.953618982E-2</c:v>
                </c:pt>
                <c:pt idx="534">
                  <c:v>1.240808239E-2</c:v>
                </c:pt>
                <c:pt idx="535">
                  <c:v>6.6342336380000005E-2</c:v>
                </c:pt>
                <c:pt idx="536">
                  <c:v>0.1077191384</c:v>
                </c:pt>
                <c:pt idx="537">
                  <c:v>0.13188560831999999</c:v>
                </c:pt>
                <c:pt idx="538">
                  <c:v>7.4732535449999998E-2</c:v>
                </c:pt>
                <c:pt idx="539">
                  <c:v>0.13515558837</c:v>
                </c:pt>
                <c:pt idx="540">
                  <c:v>0.22313233935999999</c:v>
                </c:pt>
                <c:pt idx="541">
                  <c:v>0.29270888308999998</c:v>
                </c:pt>
                <c:pt idx="542">
                  <c:v>0.22374104977000001</c:v>
                </c:pt>
                <c:pt idx="543">
                  <c:v>0.16714490673999999</c:v>
                </c:pt>
                <c:pt idx="544">
                  <c:v>9.7195543610000004E-2</c:v>
                </c:pt>
                <c:pt idx="545">
                  <c:v>5.9220288689999998E-2</c:v>
                </c:pt>
                <c:pt idx="546">
                  <c:v>4.8708038299999999E-2</c:v>
                </c:pt>
                <c:pt idx="547">
                  <c:v>-8.9545367079999993E-2</c:v>
                </c:pt>
                <c:pt idx="548">
                  <c:v>-0.14695285382000001</c:v>
                </c:pt>
                <c:pt idx="549">
                  <c:v>-0.20768902080000001</c:v>
                </c:pt>
                <c:pt idx="550">
                  <c:v>-0.25863471856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B3D-4B5B-BD8A-6E8D963D7D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  <c:max val="2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JIP_v_den_pozitivity65_7dni_100_000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53</c:f>
              <c:numCache>
                <c:formatCode>m/d/yyyy</c:formatCode>
                <c:ptCount val="55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</c:numCache>
            </c:numRef>
          </c:cat>
          <c:val>
            <c:numRef>
              <c:f>Sheet1!$B$2:$B$553</c:f>
              <c:numCache>
                <c:formatCode>0.0</c:formatCode>
                <c:ptCount val="552"/>
                <c:pt idx="0">
                  <c:v>0.1977555</c:v>
                </c:pt>
                <c:pt idx="1">
                  <c:v>0.24719440000000001</c:v>
                </c:pt>
                <c:pt idx="2">
                  <c:v>0.24719440000000001</c:v>
                </c:pt>
                <c:pt idx="3">
                  <c:v>0.3955111</c:v>
                </c:pt>
                <c:pt idx="4">
                  <c:v>0.44495000000000001</c:v>
                </c:pt>
                <c:pt idx="5">
                  <c:v>0.54382779999999997</c:v>
                </c:pt>
                <c:pt idx="6">
                  <c:v>0.59326670000000004</c:v>
                </c:pt>
                <c:pt idx="7">
                  <c:v>0.54382779999999997</c:v>
                </c:pt>
                <c:pt idx="8">
                  <c:v>0.54382779999999997</c:v>
                </c:pt>
                <c:pt idx="9">
                  <c:v>0.74158329999999995</c:v>
                </c:pt>
                <c:pt idx="10">
                  <c:v>0.79102220000000001</c:v>
                </c:pt>
                <c:pt idx="11">
                  <c:v>0.74158329999999995</c:v>
                </c:pt>
                <c:pt idx="12">
                  <c:v>0.79102220000000001</c:v>
                </c:pt>
                <c:pt idx="13">
                  <c:v>0.74158329999999995</c:v>
                </c:pt>
                <c:pt idx="14">
                  <c:v>1.1865334000000001</c:v>
                </c:pt>
                <c:pt idx="15">
                  <c:v>1.1370944999999999</c:v>
                </c:pt>
                <c:pt idx="16">
                  <c:v>1.2359723</c:v>
                </c:pt>
                <c:pt idx="17">
                  <c:v>1.1865334000000001</c:v>
                </c:pt>
                <c:pt idx="18">
                  <c:v>1.2359723</c:v>
                </c:pt>
                <c:pt idx="19">
                  <c:v>1.3842890000000001</c:v>
                </c:pt>
                <c:pt idx="20">
                  <c:v>1.4831666999999999</c:v>
                </c:pt>
                <c:pt idx="21">
                  <c:v>1.3842890000000001</c:v>
                </c:pt>
                <c:pt idx="22">
                  <c:v>1.8292390000000001</c:v>
                </c:pt>
                <c:pt idx="23">
                  <c:v>2.1258724</c:v>
                </c:pt>
                <c:pt idx="24">
                  <c:v>2.3730668000000001</c:v>
                </c:pt>
                <c:pt idx="25">
                  <c:v>2.4719446</c:v>
                </c:pt>
                <c:pt idx="26">
                  <c:v>2.3730668000000001</c:v>
                </c:pt>
                <c:pt idx="27">
                  <c:v>2.5213835000000002</c:v>
                </c:pt>
                <c:pt idx="28">
                  <c:v>2.6202613000000001</c:v>
                </c:pt>
                <c:pt idx="29">
                  <c:v>2.4719446</c:v>
                </c:pt>
                <c:pt idx="30">
                  <c:v>2.3236279</c:v>
                </c:pt>
                <c:pt idx="31">
                  <c:v>2.5213835000000002</c:v>
                </c:pt>
                <c:pt idx="32">
                  <c:v>2.5213835000000002</c:v>
                </c:pt>
                <c:pt idx="33">
                  <c:v>2.7685780000000002</c:v>
                </c:pt>
                <c:pt idx="34">
                  <c:v>4.0539892000000002</c:v>
                </c:pt>
                <c:pt idx="35">
                  <c:v>4.3506226000000003</c:v>
                </c:pt>
                <c:pt idx="36">
                  <c:v>5.2405226000000003</c:v>
                </c:pt>
                <c:pt idx="37">
                  <c:v>5.4877171000000002</c:v>
                </c:pt>
                <c:pt idx="38">
                  <c:v>5.9326670999999997</c:v>
                </c:pt>
                <c:pt idx="39">
                  <c:v>6.7236893999999996</c:v>
                </c:pt>
                <c:pt idx="40">
                  <c:v>7.0203227999999998</c:v>
                </c:pt>
                <c:pt idx="41">
                  <c:v>6.5259339000000001</c:v>
                </c:pt>
                <c:pt idx="42">
                  <c:v>6.6248116000000001</c:v>
                </c:pt>
                <c:pt idx="43">
                  <c:v>6.4764949999999999</c:v>
                </c:pt>
                <c:pt idx="44">
                  <c:v>6.7731282999999998</c:v>
                </c:pt>
                <c:pt idx="45">
                  <c:v>7.2675172999999997</c:v>
                </c:pt>
                <c:pt idx="46">
                  <c:v>6.7236893999999996</c:v>
                </c:pt>
                <c:pt idx="47">
                  <c:v>7.1192006000000001</c:v>
                </c:pt>
                <c:pt idx="48">
                  <c:v>7.5147117000000003</c:v>
                </c:pt>
                <c:pt idx="49">
                  <c:v>7.9102228999999999</c:v>
                </c:pt>
                <c:pt idx="50">
                  <c:v>8.3057339999999993</c:v>
                </c:pt>
                <c:pt idx="51">
                  <c:v>8.8990007000000002</c:v>
                </c:pt>
                <c:pt idx="52">
                  <c:v>8.9978785000000006</c:v>
                </c:pt>
                <c:pt idx="53">
                  <c:v>9.9372174999999991</c:v>
                </c:pt>
                <c:pt idx="54">
                  <c:v>10.3821675</c:v>
                </c:pt>
                <c:pt idx="55">
                  <c:v>11.568701000000001</c:v>
                </c:pt>
                <c:pt idx="56">
                  <c:v>12.5574788</c:v>
                </c:pt>
                <c:pt idx="57">
                  <c:v>12.2608455</c:v>
                </c:pt>
                <c:pt idx="58">
                  <c:v>12.656356600000001</c:v>
                </c:pt>
                <c:pt idx="59">
                  <c:v>12.804673299999999</c:v>
                </c:pt>
                <c:pt idx="60">
                  <c:v>13.0024289</c:v>
                </c:pt>
                <c:pt idx="61">
                  <c:v>12.458601099999999</c:v>
                </c:pt>
                <c:pt idx="62">
                  <c:v>12.5574788</c:v>
                </c:pt>
                <c:pt idx="63">
                  <c:v>12.0630899</c:v>
                </c:pt>
                <c:pt idx="64">
                  <c:v>11.865334300000001</c:v>
                </c:pt>
                <c:pt idx="65">
                  <c:v>12.0630899</c:v>
                </c:pt>
                <c:pt idx="66">
                  <c:v>12.1125288</c:v>
                </c:pt>
                <c:pt idx="67">
                  <c:v>11.618139899999999</c:v>
                </c:pt>
                <c:pt idx="68">
                  <c:v>11.3215065</c:v>
                </c:pt>
                <c:pt idx="69">
                  <c:v>10.1349731</c:v>
                </c:pt>
                <c:pt idx="70">
                  <c:v>9.6900230000000001</c:v>
                </c:pt>
                <c:pt idx="71">
                  <c:v>10.2338509</c:v>
                </c:pt>
                <c:pt idx="72">
                  <c:v>9.0473174000000007</c:v>
                </c:pt>
                <c:pt idx="73">
                  <c:v>8.2562951000000009</c:v>
                </c:pt>
                <c:pt idx="74">
                  <c:v>7.9102228999999999</c:v>
                </c:pt>
                <c:pt idx="75">
                  <c:v>7.6135894999999998</c:v>
                </c:pt>
                <c:pt idx="76">
                  <c:v>7.3169561999999999</c:v>
                </c:pt>
                <c:pt idx="77">
                  <c:v>6.5753728000000002</c:v>
                </c:pt>
                <c:pt idx="78">
                  <c:v>5.8832282999999999</c:v>
                </c:pt>
                <c:pt idx="79">
                  <c:v>6.0315449000000001</c:v>
                </c:pt>
                <c:pt idx="80">
                  <c:v>5.7349116000000002</c:v>
                </c:pt>
                <c:pt idx="81">
                  <c:v>5.8337893999999997</c:v>
                </c:pt>
                <c:pt idx="82">
                  <c:v>5.8832282999999999</c:v>
                </c:pt>
                <c:pt idx="83">
                  <c:v>5.1910837000000001</c:v>
                </c:pt>
                <c:pt idx="84">
                  <c:v>5.3888392999999999</c:v>
                </c:pt>
                <c:pt idx="85">
                  <c:v>5.4877171000000002</c:v>
                </c:pt>
                <c:pt idx="86">
                  <c:v>5.1416449000000002</c:v>
                </c:pt>
                <c:pt idx="87">
                  <c:v>5.092206</c:v>
                </c:pt>
                <c:pt idx="88">
                  <c:v>4.6966948000000004</c:v>
                </c:pt>
                <c:pt idx="89">
                  <c:v>4.6966948000000004</c:v>
                </c:pt>
                <c:pt idx="90">
                  <c:v>5.1910837000000001</c:v>
                </c:pt>
                <c:pt idx="91">
                  <c:v>4.9933281999999997</c:v>
                </c:pt>
                <c:pt idx="92">
                  <c:v>4.9438893000000004</c:v>
                </c:pt>
                <c:pt idx="93">
                  <c:v>5.4382782000000001</c:v>
                </c:pt>
                <c:pt idx="94">
                  <c:v>5.7349116000000002</c:v>
                </c:pt>
                <c:pt idx="95">
                  <c:v>5.7843505000000004</c:v>
                </c:pt>
                <c:pt idx="96">
                  <c:v>5.9326670999999997</c:v>
                </c:pt>
                <c:pt idx="97">
                  <c:v>5.4382782000000001</c:v>
                </c:pt>
                <c:pt idx="98">
                  <c:v>5.8832282999999999</c:v>
                </c:pt>
                <c:pt idx="99">
                  <c:v>5.7349116000000002</c:v>
                </c:pt>
                <c:pt idx="100">
                  <c:v>5.4877171000000002</c:v>
                </c:pt>
                <c:pt idx="101">
                  <c:v>4.8944504000000002</c:v>
                </c:pt>
                <c:pt idx="102">
                  <c:v>5.1416449000000002</c:v>
                </c:pt>
                <c:pt idx="103">
                  <c:v>4.9438893000000004</c:v>
                </c:pt>
                <c:pt idx="104">
                  <c:v>5.5371560000000004</c:v>
                </c:pt>
                <c:pt idx="105">
                  <c:v>5.1910837000000001</c:v>
                </c:pt>
                <c:pt idx="106">
                  <c:v>5.0427670999999998</c:v>
                </c:pt>
                <c:pt idx="107">
                  <c:v>4.8450115</c:v>
                </c:pt>
                <c:pt idx="108">
                  <c:v>4.9933281999999997</c:v>
                </c:pt>
                <c:pt idx="109">
                  <c:v>4.6472559000000002</c:v>
                </c:pt>
                <c:pt idx="110">
                  <c:v>4.7461336999999997</c:v>
                </c:pt>
                <c:pt idx="111">
                  <c:v>4.4989391999999997</c:v>
                </c:pt>
                <c:pt idx="112">
                  <c:v>4.5483780999999999</c:v>
                </c:pt>
                <c:pt idx="113">
                  <c:v>5.2405226000000003</c:v>
                </c:pt>
                <c:pt idx="114">
                  <c:v>4.8450115</c:v>
                </c:pt>
                <c:pt idx="115">
                  <c:v>5.0427670999999998</c:v>
                </c:pt>
                <c:pt idx="116">
                  <c:v>5.1910837000000001</c:v>
                </c:pt>
                <c:pt idx="117">
                  <c:v>6.0315449000000001</c:v>
                </c:pt>
                <c:pt idx="118">
                  <c:v>6.6248116000000001</c:v>
                </c:pt>
                <c:pt idx="119">
                  <c:v>7.6630284</c:v>
                </c:pt>
                <c:pt idx="120">
                  <c:v>7.8607839999999998</c:v>
                </c:pt>
                <c:pt idx="121">
                  <c:v>8.5529285000000002</c:v>
                </c:pt>
                <c:pt idx="122">
                  <c:v>8.5034896</c:v>
                </c:pt>
                <c:pt idx="123">
                  <c:v>8.9978785000000006</c:v>
                </c:pt>
                <c:pt idx="124">
                  <c:v>8.6518063000000005</c:v>
                </c:pt>
                <c:pt idx="125">
                  <c:v>8.6023674000000003</c:v>
                </c:pt>
                <c:pt idx="126">
                  <c:v>8.5529285000000002</c:v>
                </c:pt>
                <c:pt idx="127">
                  <c:v>8.5529285000000002</c:v>
                </c:pt>
                <c:pt idx="128">
                  <c:v>8.5034896</c:v>
                </c:pt>
                <c:pt idx="129">
                  <c:v>9.1956340999999995</c:v>
                </c:pt>
                <c:pt idx="130">
                  <c:v>9.4428286000000003</c:v>
                </c:pt>
                <c:pt idx="131">
                  <c:v>9.1461951999999993</c:v>
                </c:pt>
                <c:pt idx="132">
                  <c:v>8.9978785000000006</c:v>
                </c:pt>
                <c:pt idx="133">
                  <c:v>8.2068562000000007</c:v>
                </c:pt>
                <c:pt idx="134">
                  <c:v>7.7124673000000001</c:v>
                </c:pt>
                <c:pt idx="135">
                  <c:v>8.0091006999999994</c:v>
                </c:pt>
                <c:pt idx="136">
                  <c:v>7.7619062000000003</c:v>
                </c:pt>
                <c:pt idx="137">
                  <c:v>7.0697616999999999</c:v>
                </c:pt>
                <c:pt idx="138">
                  <c:v>6.8225671999999999</c:v>
                </c:pt>
                <c:pt idx="139">
                  <c:v>6.7731282999999998</c:v>
                </c:pt>
                <c:pt idx="140">
                  <c:v>6.9708838999999996</c:v>
                </c:pt>
                <c:pt idx="141">
                  <c:v>7.1192006000000001</c:v>
                </c:pt>
                <c:pt idx="142">
                  <c:v>6.3281783000000003</c:v>
                </c:pt>
                <c:pt idx="143">
                  <c:v>6.2293004999999999</c:v>
                </c:pt>
                <c:pt idx="144">
                  <c:v>6.2787394000000001</c:v>
                </c:pt>
                <c:pt idx="145">
                  <c:v>6.2787394000000001</c:v>
                </c:pt>
                <c:pt idx="146">
                  <c:v>6.0809838000000003</c:v>
                </c:pt>
                <c:pt idx="147">
                  <c:v>6.0809838000000003</c:v>
                </c:pt>
                <c:pt idx="148">
                  <c:v>5.4382782000000001</c:v>
                </c:pt>
                <c:pt idx="149">
                  <c:v>5.5371560000000004</c:v>
                </c:pt>
                <c:pt idx="150">
                  <c:v>5.7349116000000002</c:v>
                </c:pt>
                <c:pt idx="151">
                  <c:v>5.7349116000000002</c:v>
                </c:pt>
                <c:pt idx="152">
                  <c:v>5.7349116000000002</c:v>
                </c:pt>
                <c:pt idx="153">
                  <c:v>5.9821059999999999</c:v>
                </c:pt>
                <c:pt idx="154">
                  <c:v>5.4877171000000002</c:v>
                </c:pt>
                <c:pt idx="155">
                  <c:v>5.8337893999999997</c:v>
                </c:pt>
                <c:pt idx="156">
                  <c:v>6.1798615999999997</c:v>
                </c:pt>
                <c:pt idx="157">
                  <c:v>5.9326670999999997</c:v>
                </c:pt>
                <c:pt idx="158">
                  <c:v>6.0315449000000001</c:v>
                </c:pt>
                <c:pt idx="159">
                  <c:v>5.9821059999999999</c:v>
                </c:pt>
                <c:pt idx="160">
                  <c:v>5.7349116000000002</c:v>
                </c:pt>
                <c:pt idx="161">
                  <c:v>6.6248116000000001</c:v>
                </c:pt>
                <c:pt idx="162">
                  <c:v>6.9214450000000003</c:v>
                </c:pt>
                <c:pt idx="163">
                  <c:v>6.7236893999999996</c:v>
                </c:pt>
                <c:pt idx="164">
                  <c:v>6.4764949999999999</c:v>
                </c:pt>
                <c:pt idx="165">
                  <c:v>6.0315449000000001</c:v>
                </c:pt>
                <c:pt idx="166">
                  <c:v>6.4270560999999997</c:v>
                </c:pt>
                <c:pt idx="167">
                  <c:v>6.1304226999999996</c:v>
                </c:pt>
                <c:pt idx="168">
                  <c:v>5.8337893999999997</c:v>
                </c:pt>
                <c:pt idx="169">
                  <c:v>6.2293004999999999</c:v>
                </c:pt>
                <c:pt idx="170">
                  <c:v>6.5753728000000002</c:v>
                </c:pt>
                <c:pt idx="171">
                  <c:v>6.5259339000000001</c:v>
                </c:pt>
                <c:pt idx="172">
                  <c:v>7.2180783999999996</c:v>
                </c:pt>
                <c:pt idx="173">
                  <c:v>7.6135894999999998</c:v>
                </c:pt>
                <c:pt idx="174">
                  <c:v>8.1079784000000004</c:v>
                </c:pt>
                <c:pt idx="175">
                  <c:v>7.8607839999999998</c:v>
                </c:pt>
                <c:pt idx="176">
                  <c:v>7.5641505999999996</c:v>
                </c:pt>
                <c:pt idx="177">
                  <c:v>7.7619062000000003</c:v>
                </c:pt>
                <c:pt idx="178">
                  <c:v>7.7124673000000001</c:v>
                </c:pt>
                <c:pt idx="179">
                  <c:v>7.2675172999999997</c:v>
                </c:pt>
                <c:pt idx="180">
                  <c:v>7.0203227999999998</c:v>
                </c:pt>
                <c:pt idx="181">
                  <c:v>7.2180783999999996</c:v>
                </c:pt>
                <c:pt idx="182">
                  <c:v>7.7619062000000003</c:v>
                </c:pt>
                <c:pt idx="183">
                  <c:v>7.5641505999999996</c:v>
                </c:pt>
                <c:pt idx="184">
                  <c:v>7.2180783999999996</c:v>
                </c:pt>
                <c:pt idx="185">
                  <c:v>7.5641505999999996</c:v>
                </c:pt>
                <c:pt idx="186">
                  <c:v>7.7619062000000003</c:v>
                </c:pt>
                <c:pt idx="187">
                  <c:v>7.3169561999999999</c:v>
                </c:pt>
                <c:pt idx="188">
                  <c:v>7.7124673000000001</c:v>
                </c:pt>
                <c:pt idx="189">
                  <c:v>6.9708838999999996</c:v>
                </c:pt>
                <c:pt idx="190">
                  <c:v>7.0697616999999999</c:v>
                </c:pt>
                <c:pt idx="191">
                  <c:v>7.2675172999999997</c:v>
                </c:pt>
                <c:pt idx="192">
                  <c:v>7.9102228999999999</c:v>
                </c:pt>
                <c:pt idx="193">
                  <c:v>7.6630284</c:v>
                </c:pt>
                <c:pt idx="194">
                  <c:v>7.9102228999999999</c:v>
                </c:pt>
                <c:pt idx="195">
                  <c:v>7.4158339</c:v>
                </c:pt>
                <c:pt idx="196">
                  <c:v>7.3169561999999999</c:v>
                </c:pt>
                <c:pt idx="197">
                  <c:v>7.1686395000000003</c:v>
                </c:pt>
                <c:pt idx="198">
                  <c:v>6.6248116000000001</c:v>
                </c:pt>
                <c:pt idx="199">
                  <c:v>5.8832282999999999</c:v>
                </c:pt>
                <c:pt idx="200">
                  <c:v>5.8832282999999999</c:v>
                </c:pt>
                <c:pt idx="201">
                  <c:v>5.5371560000000004</c:v>
                </c:pt>
                <c:pt idx="202">
                  <c:v>5.5371560000000004</c:v>
                </c:pt>
                <c:pt idx="203">
                  <c:v>6.0809838000000003</c:v>
                </c:pt>
                <c:pt idx="204">
                  <c:v>5.8337893999999997</c:v>
                </c:pt>
                <c:pt idx="205">
                  <c:v>6.1304226999999996</c:v>
                </c:pt>
                <c:pt idx="206">
                  <c:v>6.0809838000000003</c:v>
                </c:pt>
                <c:pt idx="207">
                  <c:v>6.0315449000000001</c:v>
                </c:pt>
                <c:pt idx="208">
                  <c:v>6.1304226999999996</c:v>
                </c:pt>
                <c:pt idx="209">
                  <c:v>6.0315449000000001</c:v>
                </c:pt>
                <c:pt idx="210">
                  <c:v>5.3394003999999997</c:v>
                </c:pt>
                <c:pt idx="211">
                  <c:v>5.1910837000000001</c:v>
                </c:pt>
                <c:pt idx="212">
                  <c:v>5.0427670999999998</c:v>
                </c:pt>
                <c:pt idx="213">
                  <c:v>4.7461336999999997</c:v>
                </c:pt>
                <c:pt idx="214">
                  <c:v>4.7461336999999997</c:v>
                </c:pt>
                <c:pt idx="215">
                  <c:v>4.6472559000000002</c:v>
                </c:pt>
                <c:pt idx="216">
                  <c:v>3.7079168999999998</c:v>
                </c:pt>
                <c:pt idx="217">
                  <c:v>4.0045503</c:v>
                </c:pt>
                <c:pt idx="218">
                  <c:v>4.2517448</c:v>
                </c:pt>
                <c:pt idx="219">
                  <c:v>4.3506226000000003</c:v>
                </c:pt>
                <c:pt idx="220">
                  <c:v>4.4000614999999996</c:v>
                </c:pt>
                <c:pt idx="221">
                  <c:v>4.6472559000000002</c:v>
                </c:pt>
                <c:pt idx="222">
                  <c:v>4.7461336999999997</c:v>
                </c:pt>
                <c:pt idx="223">
                  <c:v>5.3888392999999999</c:v>
                </c:pt>
                <c:pt idx="224">
                  <c:v>4.9438893000000004</c:v>
                </c:pt>
                <c:pt idx="225">
                  <c:v>4.6472559000000002</c:v>
                </c:pt>
                <c:pt idx="226">
                  <c:v>4.2023058999999998</c:v>
                </c:pt>
                <c:pt idx="227">
                  <c:v>4.0045503</c:v>
                </c:pt>
                <c:pt idx="228">
                  <c:v>3.6584781</c:v>
                </c:pt>
                <c:pt idx="229">
                  <c:v>3.3618446999999998</c:v>
                </c:pt>
                <c:pt idx="230">
                  <c:v>3.2135280000000002</c:v>
                </c:pt>
                <c:pt idx="231">
                  <c:v>3.2135280000000002</c:v>
                </c:pt>
                <c:pt idx="232">
                  <c:v>2.9663335000000002</c:v>
                </c:pt>
                <c:pt idx="233">
                  <c:v>2.9663335000000002</c:v>
                </c:pt>
                <c:pt idx="234">
                  <c:v>3.1146501999999998</c:v>
                </c:pt>
                <c:pt idx="235">
                  <c:v>3.0652113000000001</c:v>
                </c:pt>
                <c:pt idx="236">
                  <c:v>3.1146501999999998</c:v>
                </c:pt>
                <c:pt idx="237">
                  <c:v>2.8674558000000001</c:v>
                </c:pt>
                <c:pt idx="238">
                  <c:v>2.5708224</c:v>
                </c:pt>
                <c:pt idx="239">
                  <c:v>2.7191391</c:v>
                </c:pt>
                <c:pt idx="240">
                  <c:v>2.6202613000000001</c:v>
                </c:pt>
                <c:pt idx="241">
                  <c:v>2.2247501000000001</c:v>
                </c:pt>
                <c:pt idx="242">
                  <c:v>1.9281168</c:v>
                </c:pt>
                <c:pt idx="243">
                  <c:v>1.7798001000000001</c:v>
                </c:pt>
                <c:pt idx="244">
                  <c:v>1.4337279000000001</c:v>
                </c:pt>
                <c:pt idx="245">
                  <c:v>1.8292390000000001</c:v>
                </c:pt>
                <c:pt idx="246">
                  <c:v>1.6809223</c:v>
                </c:pt>
                <c:pt idx="247">
                  <c:v>1.5326055999999999</c:v>
                </c:pt>
                <c:pt idx="248">
                  <c:v>1.6809223</c:v>
                </c:pt>
                <c:pt idx="249">
                  <c:v>1.8786779</c:v>
                </c:pt>
                <c:pt idx="250">
                  <c:v>1.8786779</c:v>
                </c:pt>
                <c:pt idx="251">
                  <c:v>1.9775556999999999</c:v>
                </c:pt>
                <c:pt idx="252">
                  <c:v>1.6809223</c:v>
                </c:pt>
                <c:pt idx="253">
                  <c:v>1.6809223</c:v>
                </c:pt>
                <c:pt idx="254">
                  <c:v>1.5820445000000001</c:v>
                </c:pt>
                <c:pt idx="255">
                  <c:v>1.3842890000000001</c:v>
                </c:pt>
                <c:pt idx="256">
                  <c:v>1.2854112</c:v>
                </c:pt>
                <c:pt idx="257">
                  <c:v>1.1370944999999999</c:v>
                </c:pt>
                <c:pt idx="258">
                  <c:v>0.84046109999999996</c:v>
                </c:pt>
                <c:pt idx="259">
                  <c:v>0.74158329999999995</c:v>
                </c:pt>
                <c:pt idx="260">
                  <c:v>0.64270559999999999</c:v>
                </c:pt>
                <c:pt idx="261">
                  <c:v>0.54382779999999997</c:v>
                </c:pt>
                <c:pt idx="262">
                  <c:v>0.54382779999999997</c:v>
                </c:pt>
                <c:pt idx="263">
                  <c:v>0.49438890000000002</c:v>
                </c:pt>
                <c:pt idx="264">
                  <c:v>0.54382779999999997</c:v>
                </c:pt>
                <c:pt idx="265">
                  <c:v>0.54382779999999997</c:v>
                </c:pt>
                <c:pt idx="266">
                  <c:v>0.44495000000000001</c:v>
                </c:pt>
                <c:pt idx="267">
                  <c:v>0.49438890000000002</c:v>
                </c:pt>
                <c:pt idx="268">
                  <c:v>0.44495000000000001</c:v>
                </c:pt>
                <c:pt idx="269">
                  <c:v>0.3460722</c:v>
                </c:pt>
                <c:pt idx="270">
                  <c:v>0.3460722</c:v>
                </c:pt>
                <c:pt idx="271">
                  <c:v>0.3460722</c:v>
                </c:pt>
                <c:pt idx="272">
                  <c:v>0.49438890000000002</c:v>
                </c:pt>
                <c:pt idx="273">
                  <c:v>0.49438890000000002</c:v>
                </c:pt>
                <c:pt idx="274">
                  <c:v>0.3460722</c:v>
                </c:pt>
                <c:pt idx="275">
                  <c:v>0.44495000000000001</c:v>
                </c:pt>
                <c:pt idx="276">
                  <c:v>0.49438890000000002</c:v>
                </c:pt>
                <c:pt idx="277">
                  <c:v>0.44495000000000001</c:v>
                </c:pt>
                <c:pt idx="278">
                  <c:v>0.3955111</c:v>
                </c:pt>
                <c:pt idx="279">
                  <c:v>0.1977555</c:v>
                </c:pt>
                <c:pt idx="280">
                  <c:v>0.1977555</c:v>
                </c:pt>
                <c:pt idx="281">
                  <c:v>0.14831659999999999</c:v>
                </c:pt>
                <c:pt idx="282">
                  <c:v>9.8877699999999999E-2</c:v>
                </c:pt>
                <c:pt idx="283">
                  <c:v>4.9438799999999998E-2</c:v>
                </c:pt>
                <c:pt idx="284">
                  <c:v>4.9438799999999998E-2</c:v>
                </c:pt>
                <c:pt idx="285">
                  <c:v>4.9438799999999998E-2</c:v>
                </c:pt>
                <c:pt idx="286">
                  <c:v>9.8877699999999999E-2</c:v>
                </c:pt>
                <c:pt idx="287">
                  <c:v>9.8877699999999999E-2</c:v>
                </c:pt>
                <c:pt idx="288">
                  <c:v>9.8877699999999999E-2</c:v>
                </c:pt>
                <c:pt idx="289">
                  <c:v>4.9438799999999998E-2</c:v>
                </c:pt>
                <c:pt idx="290">
                  <c:v>0.14831659999999999</c:v>
                </c:pt>
                <c:pt idx="291">
                  <c:v>0.14831659999999999</c:v>
                </c:pt>
                <c:pt idx="292">
                  <c:v>0.1977555</c:v>
                </c:pt>
                <c:pt idx="293">
                  <c:v>0.14831659999999999</c:v>
                </c:pt>
                <c:pt idx="294">
                  <c:v>0.14831659999999999</c:v>
                </c:pt>
                <c:pt idx="295">
                  <c:v>0.14831659999999999</c:v>
                </c:pt>
                <c:pt idx="296">
                  <c:v>0.14831659999999999</c:v>
                </c:pt>
                <c:pt idx="297">
                  <c:v>4.9438799999999998E-2</c:v>
                </c:pt>
                <c:pt idx="298">
                  <c:v>4.9438799999999998E-2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4.9438799999999998E-2</c:v>
                </c:pt>
                <c:pt idx="310">
                  <c:v>4.9438799999999998E-2</c:v>
                </c:pt>
                <c:pt idx="311">
                  <c:v>4.9438799999999998E-2</c:v>
                </c:pt>
                <c:pt idx="312">
                  <c:v>4.9438799999999998E-2</c:v>
                </c:pt>
                <c:pt idx="313">
                  <c:v>4.9438799999999998E-2</c:v>
                </c:pt>
                <c:pt idx="314">
                  <c:v>9.8877699999999999E-2</c:v>
                </c:pt>
                <c:pt idx="315">
                  <c:v>9.8877699999999999E-2</c:v>
                </c:pt>
                <c:pt idx="316">
                  <c:v>4.9438799999999998E-2</c:v>
                </c:pt>
                <c:pt idx="317">
                  <c:v>4.9438799999999998E-2</c:v>
                </c:pt>
                <c:pt idx="318">
                  <c:v>4.9438799999999998E-2</c:v>
                </c:pt>
                <c:pt idx="319">
                  <c:v>4.9438799999999998E-2</c:v>
                </c:pt>
                <c:pt idx="320">
                  <c:v>9.8877699999999999E-2</c:v>
                </c:pt>
                <c:pt idx="321">
                  <c:v>9.8877699999999999E-2</c:v>
                </c:pt>
                <c:pt idx="322">
                  <c:v>9.8877699999999999E-2</c:v>
                </c:pt>
                <c:pt idx="323">
                  <c:v>9.8877699999999999E-2</c:v>
                </c:pt>
                <c:pt idx="324">
                  <c:v>9.8877699999999999E-2</c:v>
                </c:pt>
                <c:pt idx="325">
                  <c:v>0.14831659999999999</c:v>
                </c:pt>
                <c:pt idx="326">
                  <c:v>0.14831659999999999</c:v>
                </c:pt>
                <c:pt idx="327">
                  <c:v>9.8877699999999999E-2</c:v>
                </c:pt>
                <c:pt idx="328">
                  <c:v>9.8877699999999999E-2</c:v>
                </c:pt>
                <c:pt idx="329">
                  <c:v>9.8877699999999999E-2</c:v>
                </c:pt>
                <c:pt idx="330">
                  <c:v>9.8877699999999999E-2</c:v>
                </c:pt>
                <c:pt idx="331">
                  <c:v>0.14831659999999999</c:v>
                </c:pt>
                <c:pt idx="332">
                  <c:v>0.14831659999999999</c:v>
                </c:pt>
                <c:pt idx="333">
                  <c:v>0.1977555</c:v>
                </c:pt>
                <c:pt idx="334">
                  <c:v>0.1977555</c:v>
                </c:pt>
                <c:pt idx="335">
                  <c:v>0.14831659999999999</c:v>
                </c:pt>
                <c:pt idx="336">
                  <c:v>0.14831659999999999</c:v>
                </c:pt>
                <c:pt idx="337">
                  <c:v>0.1977555</c:v>
                </c:pt>
                <c:pt idx="338">
                  <c:v>0.14831659999999999</c:v>
                </c:pt>
                <c:pt idx="339">
                  <c:v>0.14831659999999999</c:v>
                </c:pt>
                <c:pt idx="340">
                  <c:v>9.8877699999999999E-2</c:v>
                </c:pt>
                <c:pt idx="341">
                  <c:v>9.8877699999999999E-2</c:v>
                </c:pt>
                <c:pt idx="342">
                  <c:v>9.8877699999999999E-2</c:v>
                </c:pt>
                <c:pt idx="343">
                  <c:v>9.8877699999999999E-2</c:v>
                </c:pt>
                <c:pt idx="344">
                  <c:v>9.8877699999999999E-2</c:v>
                </c:pt>
                <c:pt idx="345">
                  <c:v>9.8877699999999999E-2</c:v>
                </c:pt>
                <c:pt idx="346">
                  <c:v>4.9438799999999998E-2</c:v>
                </c:pt>
                <c:pt idx="347">
                  <c:v>4.9438799999999998E-2</c:v>
                </c:pt>
                <c:pt idx="348">
                  <c:v>9.8877699999999999E-2</c:v>
                </c:pt>
                <c:pt idx="349">
                  <c:v>9.8877699999999999E-2</c:v>
                </c:pt>
                <c:pt idx="350">
                  <c:v>9.8877699999999999E-2</c:v>
                </c:pt>
                <c:pt idx="351">
                  <c:v>4.9438799999999998E-2</c:v>
                </c:pt>
                <c:pt idx="352">
                  <c:v>4.9438799999999998E-2</c:v>
                </c:pt>
                <c:pt idx="353">
                  <c:v>0.1977555</c:v>
                </c:pt>
                <c:pt idx="354">
                  <c:v>0.24719440000000001</c:v>
                </c:pt>
                <c:pt idx="355">
                  <c:v>0.1977555</c:v>
                </c:pt>
                <c:pt idx="356">
                  <c:v>0.24719440000000001</c:v>
                </c:pt>
                <c:pt idx="357">
                  <c:v>0.29663329999999999</c:v>
                </c:pt>
                <c:pt idx="358">
                  <c:v>0.3460722</c:v>
                </c:pt>
                <c:pt idx="359">
                  <c:v>0.3460722</c:v>
                </c:pt>
                <c:pt idx="360">
                  <c:v>0.1977555</c:v>
                </c:pt>
                <c:pt idx="361">
                  <c:v>0.14831659999999999</c:v>
                </c:pt>
                <c:pt idx="362">
                  <c:v>0.14831659999999999</c:v>
                </c:pt>
                <c:pt idx="363">
                  <c:v>9.8877699999999999E-2</c:v>
                </c:pt>
                <c:pt idx="364">
                  <c:v>4.9438799999999998E-2</c:v>
                </c:pt>
                <c:pt idx="365">
                  <c:v>4.9438799999999998E-2</c:v>
                </c:pt>
                <c:pt idx="366">
                  <c:v>4.9438799999999998E-2</c:v>
                </c:pt>
                <c:pt idx="367">
                  <c:v>0.1977555</c:v>
                </c:pt>
                <c:pt idx="368">
                  <c:v>0.1977555</c:v>
                </c:pt>
                <c:pt idx="369">
                  <c:v>0.24719440000000001</c:v>
                </c:pt>
                <c:pt idx="370">
                  <c:v>0.24719440000000001</c:v>
                </c:pt>
                <c:pt idx="371">
                  <c:v>0.29663329999999999</c:v>
                </c:pt>
                <c:pt idx="372">
                  <c:v>0.24719440000000001</c:v>
                </c:pt>
                <c:pt idx="373">
                  <c:v>0.24719440000000001</c:v>
                </c:pt>
                <c:pt idx="374">
                  <c:v>0.14831659999999999</c:v>
                </c:pt>
                <c:pt idx="375">
                  <c:v>0.14831659999999999</c:v>
                </c:pt>
                <c:pt idx="376">
                  <c:v>9.8877699999999999E-2</c:v>
                </c:pt>
                <c:pt idx="377">
                  <c:v>0.29663329999999999</c:v>
                </c:pt>
                <c:pt idx="378">
                  <c:v>0.29663329999999999</c:v>
                </c:pt>
                <c:pt idx="379">
                  <c:v>0.29663329999999999</c:v>
                </c:pt>
                <c:pt idx="380">
                  <c:v>0.29663329999999999</c:v>
                </c:pt>
                <c:pt idx="381">
                  <c:v>0.29663329999999999</c:v>
                </c:pt>
                <c:pt idx="382">
                  <c:v>0.29663329999999999</c:v>
                </c:pt>
                <c:pt idx="383">
                  <c:v>0.3460722</c:v>
                </c:pt>
                <c:pt idx="384">
                  <c:v>0.14831659999999999</c:v>
                </c:pt>
                <c:pt idx="385">
                  <c:v>9.8877699999999999E-2</c:v>
                </c:pt>
                <c:pt idx="386">
                  <c:v>9.8877699999999999E-2</c:v>
                </c:pt>
                <c:pt idx="387">
                  <c:v>0.14831659999999999</c:v>
                </c:pt>
                <c:pt idx="388">
                  <c:v>9.8877699999999999E-2</c:v>
                </c:pt>
                <c:pt idx="389">
                  <c:v>0.14831659999999999</c:v>
                </c:pt>
                <c:pt idx="390">
                  <c:v>0.14831659999999999</c:v>
                </c:pt>
                <c:pt idx="391">
                  <c:v>0.24719440000000001</c:v>
                </c:pt>
                <c:pt idx="392">
                  <c:v>0.29663329999999999</c:v>
                </c:pt>
                <c:pt idx="393">
                  <c:v>0.3955111</c:v>
                </c:pt>
                <c:pt idx="394">
                  <c:v>0.3955111</c:v>
                </c:pt>
                <c:pt idx="395">
                  <c:v>0.54382779999999997</c:v>
                </c:pt>
                <c:pt idx="396">
                  <c:v>0.49438890000000002</c:v>
                </c:pt>
                <c:pt idx="397">
                  <c:v>0.54382779999999997</c:v>
                </c:pt>
                <c:pt idx="398">
                  <c:v>0.59326670000000004</c:v>
                </c:pt>
                <c:pt idx="399">
                  <c:v>0.84046109999999996</c:v>
                </c:pt>
                <c:pt idx="400">
                  <c:v>1.0382167</c:v>
                </c:pt>
                <c:pt idx="401">
                  <c:v>1.1865334000000001</c:v>
                </c:pt>
                <c:pt idx="402">
                  <c:v>1.0876555999999999</c:v>
                </c:pt>
                <c:pt idx="403">
                  <c:v>1.0876555999999999</c:v>
                </c:pt>
                <c:pt idx="404">
                  <c:v>1.0382167</c:v>
                </c:pt>
                <c:pt idx="405">
                  <c:v>1.2854112</c:v>
                </c:pt>
                <c:pt idx="406">
                  <c:v>1.0876555999999999</c:v>
                </c:pt>
                <c:pt idx="407">
                  <c:v>0.98877780000000004</c:v>
                </c:pt>
                <c:pt idx="408">
                  <c:v>1.0876555999999999</c:v>
                </c:pt>
                <c:pt idx="409">
                  <c:v>1.1865334000000001</c:v>
                </c:pt>
                <c:pt idx="410">
                  <c:v>1.2359723</c:v>
                </c:pt>
                <c:pt idx="411">
                  <c:v>1.1865334000000001</c:v>
                </c:pt>
                <c:pt idx="412">
                  <c:v>0.98877780000000004</c:v>
                </c:pt>
                <c:pt idx="413">
                  <c:v>0.93933889999999998</c:v>
                </c:pt>
                <c:pt idx="414">
                  <c:v>0.98877780000000004</c:v>
                </c:pt>
                <c:pt idx="415">
                  <c:v>0.74158329999999995</c:v>
                </c:pt>
                <c:pt idx="416">
                  <c:v>0.69214450000000005</c:v>
                </c:pt>
                <c:pt idx="417">
                  <c:v>0.79102220000000001</c:v>
                </c:pt>
                <c:pt idx="418">
                  <c:v>1.0382167</c:v>
                </c:pt>
                <c:pt idx="419">
                  <c:v>1.5820445000000001</c:v>
                </c:pt>
                <c:pt idx="420">
                  <c:v>1.6314834</c:v>
                </c:pt>
                <c:pt idx="421">
                  <c:v>1.5820445000000001</c:v>
                </c:pt>
                <c:pt idx="422">
                  <c:v>1.6809223</c:v>
                </c:pt>
                <c:pt idx="423">
                  <c:v>1.9775556999999999</c:v>
                </c:pt>
                <c:pt idx="424">
                  <c:v>1.9775556999999999</c:v>
                </c:pt>
                <c:pt idx="425">
                  <c:v>1.9281168</c:v>
                </c:pt>
                <c:pt idx="426">
                  <c:v>1.9281168</c:v>
                </c:pt>
                <c:pt idx="427">
                  <c:v>2.5708224</c:v>
                </c:pt>
                <c:pt idx="428">
                  <c:v>2.8674558000000001</c:v>
                </c:pt>
                <c:pt idx="429">
                  <c:v>3.1640891</c:v>
                </c:pt>
                <c:pt idx="430">
                  <c:v>3.5596003000000001</c:v>
                </c:pt>
                <c:pt idx="431">
                  <c:v>4.0539892000000002</c:v>
                </c:pt>
                <c:pt idx="432">
                  <c:v>4.3011837000000002</c:v>
                </c:pt>
                <c:pt idx="433">
                  <c:v>4.2517448</c:v>
                </c:pt>
                <c:pt idx="434">
                  <c:v>4.4000614999999996</c:v>
                </c:pt>
                <c:pt idx="435">
                  <c:v>4.8450115</c:v>
                </c:pt>
                <c:pt idx="436">
                  <c:v>5.0427670999999998</c:v>
                </c:pt>
                <c:pt idx="437">
                  <c:v>4.7461336999999997</c:v>
                </c:pt>
                <c:pt idx="438">
                  <c:v>4.597817</c:v>
                </c:pt>
                <c:pt idx="439">
                  <c:v>4.4495003000000004</c:v>
                </c:pt>
                <c:pt idx="440">
                  <c:v>4.597817</c:v>
                </c:pt>
                <c:pt idx="441">
                  <c:v>4.4495003000000004</c:v>
                </c:pt>
                <c:pt idx="442">
                  <c:v>4.1528669999999996</c:v>
                </c:pt>
                <c:pt idx="443">
                  <c:v>4.8450115</c:v>
                </c:pt>
                <c:pt idx="444">
                  <c:v>5.1416449000000002</c:v>
                </c:pt>
                <c:pt idx="445">
                  <c:v>5.1910837000000001</c:v>
                </c:pt>
                <c:pt idx="446">
                  <c:v>6.0809838000000003</c:v>
                </c:pt>
                <c:pt idx="447">
                  <c:v>6.8720061000000001</c:v>
                </c:pt>
                <c:pt idx="448">
                  <c:v>7.3169561999999999</c:v>
                </c:pt>
                <c:pt idx="449">
                  <c:v>7.0697616999999999</c:v>
                </c:pt>
                <c:pt idx="450">
                  <c:v>7.1192006000000001</c:v>
                </c:pt>
                <c:pt idx="451">
                  <c:v>7.3169561999999999</c:v>
                </c:pt>
                <c:pt idx="452">
                  <c:v>7.4158339</c:v>
                </c:pt>
                <c:pt idx="453">
                  <c:v>6.7731282999999998</c:v>
                </c:pt>
                <c:pt idx="454">
                  <c:v>6.1304226999999996</c:v>
                </c:pt>
                <c:pt idx="455">
                  <c:v>5.8337893999999997</c:v>
                </c:pt>
                <c:pt idx="456">
                  <c:v>6.4270560999999997</c:v>
                </c:pt>
                <c:pt idx="457">
                  <c:v>6.0315449000000001</c:v>
                </c:pt>
                <c:pt idx="458">
                  <c:v>5.3888392999999999</c:v>
                </c:pt>
                <c:pt idx="459">
                  <c:v>5.5865948999999997</c:v>
                </c:pt>
                <c:pt idx="460">
                  <c:v>5.3394003999999997</c:v>
                </c:pt>
                <c:pt idx="461">
                  <c:v>5.6360337999999999</c:v>
                </c:pt>
                <c:pt idx="462">
                  <c:v>5.3394003999999997</c:v>
                </c:pt>
                <c:pt idx="463">
                  <c:v>4.8450115</c:v>
                </c:pt>
                <c:pt idx="464">
                  <c:v>4.6472559000000002</c:v>
                </c:pt>
                <c:pt idx="465">
                  <c:v>4.7955725999999999</c:v>
                </c:pt>
                <c:pt idx="466">
                  <c:v>4.4989391999999997</c:v>
                </c:pt>
                <c:pt idx="467">
                  <c:v>4.6966948000000004</c:v>
                </c:pt>
                <c:pt idx="468">
                  <c:v>4.1528669999999996</c:v>
                </c:pt>
                <c:pt idx="469">
                  <c:v>4.597817</c:v>
                </c:pt>
                <c:pt idx="470">
                  <c:v>4.7461336999999997</c:v>
                </c:pt>
                <c:pt idx="471">
                  <c:v>4.7461336999999997</c:v>
                </c:pt>
                <c:pt idx="472">
                  <c:v>4.597817</c:v>
                </c:pt>
                <c:pt idx="473">
                  <c:v>4.3011837000000002</c:v>
                </c:pt>
                <c:pt idx="474">
                  <c:v>4.1034281000000004</c:v>
                </c:pt>
                <c:pt idx="475">
                  <c:v>4.3011837000000002</c:v>
                </c:pt>
                <c:pt idx="476">
                  <c:v>4.0045503</c:v>
                </c:pt>
                <c:pt idx="477">
                  <c:v>3.8067947000000002</c:v>
                </c:pt>
                <c:pt idx="478">
                  <c:v>3.7079168999999998</c:v>
                </c:pt>
                <c:pt idx="479">
                  <c:v>3.6090391999999998</c:v>
                </c:pt>
                <c:pt idx="480">
                  <c:v>3.5596003000000001</c:v>
                </c:pt>
                <c:pt idx="481">
                  <c:v>3.6090391999999998</c:v>
                </c:pt>
                <c:pt idx="482">
                  <c:v>3.4607225000000001</c:v>
                </c:pt>
                <c:pt idx="483">
                  <c:v>3.8067947000000002</c:v>
                </c:pt>
                <c:pt idx="484">
                  <c:v>4.0045503</c:v>
                </c:pt>
                <c:pt idx="485">
                  <c:v>3.8562335999999999</c:v>
                </c:pt>
                <c:pt idx="486">
                  <c:v>3.9056725000000001</c:v>
                </c:pt>
                <c:pt idx="487">
                  <c:v>4.2023058999999998</c:v>
                </c:pt>
                <c:pt idx="488">
                  <c:v>4.3011837000000002</c:v>
                </c:pt>
                <c:pt idx="489">
                  <c:v>3.8067947000000002</c:v>
                </c:pt>
                <c:pt idx="490">
                  <c:v>3.0652113000000001</c:v>
                </c:pt>
                <c:pt idx="491">
                  <c:v>2.7191391</c:v>
                </c:pt>
                <c:pt idx="492">
                  <c:v>2.4225056999999999</c:v>
                </c:pt>
                <c:pt idx="493">
                  <c:v>2.6697001999999999</c:v>
                </c:pt>
                <c:pt idx="494">
                  <c:v>2.4225056999999999</c:v>
                </c:pt>
                <c:pt idx="495">
                  <c:v>2.3236279</c:v>
                </c:pt>
                <c:pt idx="496">
                  <c:v>2.6202613000000001</c:v>
                </c:pt>
                <c:pt idx="497">
                  <c:v>2.5708224</c:v>
                </c:pt>
                <c:pt idx="498">
                  <c:v>2.6202613000000001</c:v>
                </c:pt>
                <c:pt idx="499">
                  <c:v>2.5708224</c:v>
                </c:pt>
                <c:pt idx="500">
                  <c:v>2.4225056999999999</c:v>
                </c:pt>
                <c:pt idx="501">
                  <c:v>2.2247501000000001</c:v>
                </c:pt>
                <c:pt idx="502">
                  <c:v>1.9775556999999999</c:v>
                </c:pt>
                <c:pt idx="503">
                  <c:v>1.7798001000000001</c:v>
                </c:pt>
                <c:pt idx="504">
                  <c:v>1.6314834</c:v>
                </c:pt>
                <c:pt idx="505">
                  <c:v>1.6314834</c:v>
                </c:pt>
                <c:pt idx="506">
                  <c:v>1.6809223</c:v>
                </c:pt>
                <c:pt idx="507">
                  <c:v>1.6809223</c:v>
                </c:pt>
                <c:pt idx="508">
                  <c:v>2.0764334999999998</c:v>
                </c:pt>
                <c:pt idx="509">
                  <c:v>2.5708224</c:v>
                </c:pt>
                <c:pt idx="510">
                  <c:v>2.9168946999999998</c:v>
                </c:pt>
                <c:pt idx="511">
                  <c:v>2.9663335000000002</c:v>
                </c:pt>
                <c:pt idx="512">
                  <c:v>2.9663335000000002</c:v>
                </c:pt>
                <c:pt idx="513">
                  <c:v>3.1640891</c:v>
                </c:pt>
                <c:pt idx="514">
                  <c:v>3.3124058000000001</c:v>
                </c:pt>
                <c:pt idx="515">
                  <c:v>3.2629668999999999</c:v>
                </c:pt>
                <c:pt idx="516">
                  <c:v>3.1640891</c:v>
                </c:pt>
                <c:pt idx="517">
                  <c:v>3.2629668999999999</c:v>
                </c:pt>
                <c:pt idx="518">
                  <c:v>3.8562335999999999</c:v>
                </c:pt>
                <c:pt idx="519">
                  <c:v>4.1528669999999996</c:v>
                </c:pt>
                <c:pt idx="520">
                  <c:v>4.5483780999999999</c:v>
                </c:pt>
                <c:pt idx="521">
                  <c:v>4.4989391999999997</c:v>
                </c:pt>
                <c:pt idx="522">
                  <c:v>4.9933281999999997</c:v>
                </c:pt>
                <c:pt idx="523">
                  <c:v>4.7955725999999999</c:v>
                </c:pt>
                <c:pt idx="524">
                  <c:v>4.6966948000000004</c:v>
                </c:pt>
                <c:pt idx="525">
                  <c:v>4.3506226000000003</c:v>
                </c:pt>
                <c:pt idx="526">
                  <c:v>4.597817</c:v>
                </c:pt>
                <c:pt idx="527">
                  <c:v>4.6472559000000002</c:v>
                </c:pt>
                <c:pt idx="528">
                  <c:v>4.9933281999999997</c:v>
                </c:pt>
                <c:pt idx="529">
                  <c:v>4.5483780999999999</c:v>
                </c:pt>
                <c:pt idx="530">
                  <c:v>4.597817</c:v>
                </c:pt>
                <c:pt idx="531">
                  <c:v>4.9933281999999997</c:v>
                </c:pt>
                <c:pt idx="532">
                  <c:v>5.1416449000000002</c:v>
                </c:pt>
                <c:pt idx="533">
                  <c:v>4.9933281999999997</c:v>
                </c:pt>
                <c:pt idx="534">
                  <c:v>4.6966948000000004</c:v>
                </c:pt>
                <c:pt idx="535">
                  <c:v>4.3506226000000003</c:v>
                </c:pt>
                <c:pt idx="536">
                  <c:v>4.1528669999999996</c:v>
                </c:pt>
                <c:pt idx="537">
                  <c:v>4.6966948000000004</c:v>
                </c:pt>
                <c:pt idx="538">
                  <c:v>4.3011837000000002</c:v>
                </c:pt>
                <c:pt idx="539">
                  <c:v>4.597817</c:v>
                </c:pt>
                <c:pt idx="540">
                  <c:v>4.8450115</c:v>
                </c:pt>
                <c:pt idx="541">
                  <c:v>5.0427670999999998</c:v>
                </c:pt>
                <c:pt idx="542">
                  <c:v>4.7955725999999999</c:v>
                </c:pt>
                <c:pt idx="543">
                  <c:v>4.6966948000000004</c:v>
                </c:pt>
                <c:pt idx="544">
                  <c:v>4.6472559000000002</c:v>
                </c:pt>
                <c:pt idx="545">
                  <c:v>4.3506226000000003</c:v>
                </c:pt>
                <c:pt idx="546">
                  <c:v>4.0539892000000002</c:v>
                </c:pt>
                <c:pt idx="547">
                  <c:v>3.5101613999999999</c:v>
                </c:pt>
                <c:pt idx="548">
                  <c:v>3.2629668999999999</c:v>
                </c:pt>
                <c:pt idx="549">
                  <c:v>3.0652113000000001</c:v>
                </c:pt>
                <c:pt idx="550">
                  <c:v>2.6697001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7DC-463D-8531-AEA8D76944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JIP_v_den_pozitivity65_7dni_100_000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53</c:f>
              <c:numCache>
                <c:formatCode>m/d/yyyy</c:formatCode>
                <c:ptCount val="55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</c:numCache>
            </c:numRef>
          </c:cat>
          <c:val>
            <c:numRef>
              <c:f>Sheet1!$B$2:$B$553</c:f>
              <c:numCache>
                <c:formatCode>0.0%</c:formatCode>
                <c:ptCount val="55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7.0000140000000002</c:v>
                </c:pt>
                <c:pt idx="4">
                  <c:v>8.0000160000000005</c:v>
                </c:pt>
                <c:pt idx="5">
                  <c:v>4.5000039999999997</c:v>
                </c:pt>
                <c:pt idx="6">
                  <c:v>2.0000010000000001</c:v>
                </c:pt>
                <c:pt idx="7">
                  <c:v>1.2</c:v>
                </c:pt>
                <c:pt idx="8">
                  <c:v>1.2</c:v>
                </c:pt>
                <c:pt idx="9">
                  <c:v>0.87499899999999997</c:v>
                </c:pt>
                <c:pt idx="10">
                  <c:v>0.77777700000000005</c:v>
                </c:pt>
                <c:pt idx="11">
                  <c:v>0.36363600000000001</c:v>
                </c:pt>
                <c:pt idx="12">
                  <c:v>0.33333299999999999</c:v>
                </c:pt>
                <c:pt idx="13">
                  <c:v>0.36363600000000001</c:v>
                </c:pt>
                <c:pt idx="14">
                  <c:v>1.181818</c:v>
                </c:pt>
                <c:pt idx="15">
                  <c:v>0.53333299999999995</c:v>
                </c:pt>
                <c:pt idx="16">
                  <c:v>0.5625</c:v>
                </c:pt>
                <c:pt idx="17">
                  <c:v>0.6</c:v>
                </c:pt>
                <c:pt idx="18">
                  <c:v>0.5625</c:v>
                </c:pt>
                <c:pt idx="19">
                  <c:v>0.86666600000000005</c:v>
                </c:pt>
                <c:pt idx="20">
                  <c:v>0.249999</c:v>
                </c:pt>
                <c:pt idx="21">
                  <c:v>0.217391</c:v>
                </c:pt>
                <c:pt idx="22">
                  <c:v>0.47999900000000001</c:v>
                </c:pt>
                <c:pt idx="23">
                  <c:v>0.79166599999999998</c:v>
                </c:pt>
                <c:pt idx="24">
                  <c:v>0.91999900000000001</c:v>
                </c:pt>
                <c:pt idx="25">
                  <c:v>0.78571400000000002</c:v>
                </c:pt>
                <c:pt idx="26">
                  <c:v>0.6</c:v>
                </c:pt>
                <c:pt idx="27">
                  <c:v>0.82142800000000005</c:v>
                </c:pt>
                <c:pt idx="28">
                  <c:v>0.43243199999999998</c:v>
                </c:pt>
                <c:pt idx="29">
                  <c:v>0.16278999999999999</c:v>
                </c:pt>
                <c:pt idx="30">
                  <c:v>-2.0833000000000001E-2</c:v>
                </c:pt>
                <c:pt idx="31">
                  <c:v>0.02</c:v>
                </c:pt>
                <c:pt idx="32">
                  <c:v>6.25E-2</c:v>
                </c:pt>
                <c:pt idx="33">
                  <c:v>9.8039000000000001E-2</c:v>
                </c:pt>
                <c:pt idx="34">
                  <c:v>0.54716900000000002</c:v>
                </c:pt>
                <c:pt idx="35">
                  <c:v>0.76</c:v>
                </c:pt>
                <c:pt idx="36">
                  <c:v>1.2553190000000001</c:v>
                </c:pt>
                <c:pt idx="37">
                  <c:v>1.1764699999999999</c:v>
                </c:pt>
                <c:pt idx="38">
                  <c:v>1.3529409999999999</c:v>
                </c:pt>
                <c:pt idx="39">
                  <c:v>1.428571</c:v>
                </c:pt>
                <c:pt idx="40">
                  <c:v>0.731707</c:v>
                </c:pt>
                <c:pt idx="41">
                  <c:v>0.5</c:v>
                </c:pt>
                <c:pt idx="42">
                  <c:v>0.26415</c:v>
                </c:pt>
                <c:pt idx="43">
                  <c:v>0.18018000000000001</c:v>
                </c:pt>
                <c:pt idx="44">
                  <c:v>0.14166599999999999</c:v>
                </c:pt>
                <c:pt idx="45">
                  <c:v>8.0881999999999996E-2</c:v>
                </c:pt>
                <c:pt idx="46">
                  <c:v>-4.2252999999999999E-2</c:v>
                </c:pt>
                <c:pt idx="47">
                  <c:v>9.0909000000000004E-2</c:v>
                </c:pt>
                <c:pt idx="48">
                  <c:v>0.134328</c:v>
                </c:pt>
                <c:pt idx="49">
                  <c:v>0.22137399999999999</c:v>
                </c:pt>
                <c:pt idx="50">
                  <c:v>0.22627700000000001</c:v>
                </c:pt>
                <c:pt idx="51">
                  <c:v>0.22448899999999999</c:v>
                </c:pt>
                <c:pt idx="52">
                  <c:v>0.33823500000000001</c:v>
                </c:pt>
                <c:pt idx="53">
                  <c:v>0.39583299999999999</c:v>
                </c:pt>
                <c:pt idx="54">
                  <c:v>0.38157799999999997</c:v>
                </c:pt>
                <c:pt idx="55">
                  <c:v>0.46250000000000002</c:v>
                </c:pt>
                <c:pt idx="56">
                  <c:v>0.51190400000000003</c:v>
                </c:pt>
                <c:pt idx="57">
                  <c:v>0.37777699999999997</c:v>
                </c:pt>
                <c:pt idx="58">
                  <c:v>0.40659299999999998</c:v>
                </c:pt>
                <c:pt idx="59">
                  <c:v>0.28855700000000001</c:v>
                </c:pt>
                <c:pt idx="60">
                  <c:v>0.25237999999999999</c:v>
                </c:pt>
                <c:pt idx="61">
                  <c:v>7.6923000000000005E-2</c:v>
                </c:pt>
                <c:pt idx="62">
                  <c:v>0</c:v>
                </c:pt>
                <c:pt idx="63">
                  <c:v>-1.6129000000000001E-2</c:v>
                </c:pt>
                <c:pt idx="64">
                  <c:v>-6.25E-2</c:v>
                </c:pt>
                <c:pt idx="65">
                  <c:v>-5.7915000000000001E-2</c:v>
                </c:pt>
                <c:pt idx="66">
                  <c:v>-6.8441000000000002E-2</c:v>
                </c:pt>
                <c:pt idx="67">
                  <c:v>-6.7460000000000006E-2</c:v>
                </c:pt>
                <c:pt idx="68">
                  <c:v>-9.8424999999999999E-2</c:v>
                </c:pt>
                <c:pt idx="69">
                  <c:v>-0.15983600000000001</c:v>
                </c:pt>
                <c:pt idx="70">
                  <c:v>-0.183333</c:v>
                </c:pt>
                <c:pt idx="71">
                  <c:v>-0.151639</c:v>
                </c:pt>
                <c:pt idx="72">
                  <c:v>-0.25306099999999998</c:v>
                </c:pt>
                <c:pt idx="73">
                  <c:v>-0.28936099999999998</c:v>
                </c:pt>
                <c:pt idx="74">
                  <c:v>-0.30131000000000002</c:v>
                </c:pt>
                <c:pt idx="75">
                  <c:v>-0.24878</c:v>
                </c:pt>
                <c:pt idx="76">
                  <c:v>-0.244897</c:v>
                </c:pt>
                <c:pt idx="77">
                  <c:v>-0.357487</c:v>
                </c:pt>
                <c:pt idx="78">
                  <c:v>-0.34972599999999998</c:v>
                </c:pt>
                <c:pt idx="79">
                  <c:v>-0.26946100000000001</c:v>
                </c:pt>
                <c:pt idx="80">
                  <c:v>-0.27500000000000002</c:v>
                </c:pt>
                <c:pt idx="81">
                  <c:v>-0.233766</c:v>
                </c:pt>
                <c:pt idx="82">
                  <c:v>-0.19594500000000001</c:v>
                </c:pt>
                <c:pt idx="83">
                  <c:v>-0.21052599999999999</c:v>
                </c:pt>
                <c:pt idx="84">
                  <c:v>-8.4032999999999997E-2</c:v>
                </c:pt>
                <c:pt idx="85">
                  <c:v>-9.0162999999999993E-2</c:v>
                </c:pt>
                <c:pt idx="86">
                  <c:v>-0.103448</c:v>
                </c:pt>
                <c:pt idx="87">
                  <c:v>-0.12711800000000001</c:v>
                </c:pt>
                <c:pt idx="88">
                  <c:v>-0.20168</c:v>
                </c:pt>
                <c:pt idx="89">
                  <c:v>-9.5238000000000003E-2</c:v>
                </c:pt>
                <c:pt idx="90">
                  <c:v>-3.6697E-2</c:v>
                </c:pt>
                <c:pt idx="91">
                  <c:v>-9.0090000000000003E-2</c:v>
                </c:pt>
                <c:pt idx="92">
                  <c:v>-3.8461000000000002E-2</c:v>
                </c:pt>
                <c:pt idx="93">
                  <c:v>6.7960999999999994E-2</c:v>
                </c:pt>
                <c:pt idx="94">
                  <c:v>0.221052</c:v>
                </c:pt>
                <c:pt idx="95">
                  <c:v>0.23157800000000001</c:v>
                </c:pt>
                <c:pt idx="96">
                  <c:v>0.14285700000000001</c:v>
                </c:pt>
                <c:pt idx="97">
                  <c:v>8.9108000000000007E-2</c:v>
                </c:pt>
                <c:pt idx="98">
                  <c:v>0.19</c:v>
                </c:pt>
                <c:pt idx="99">
                  <c:v>5.4545000000000003E-2</c:v>
                </c:pt>
                <c:pt idx="100">
                  <c:v>-4.3103000000000002E-2</c:v>
                </c:pt>
                <c:pt idx="101">
                  <c:v>-0.15384600000000001</c:v>
                </c:pt>
                <c:pt idx="102">
                  <c:v>-0.13333300000000001</c:v>
                </c:pt>
                <c:pt idx="103">
                  <c:v>-9.0909000000000004E-2</c:v>
                </c:pt>
                <c:pt idx="104">
                  <c:v>-5.8823E-2</c:v>
                </c:pt>
                <c:pt idx="105">
                  <c:v>-9.4826999999999995E-2</c:v>
                </c:pt>
                <c:pt idx="106">
                  <c:v>-8.1081E-2</c:v>
                </c:pt>
                <c:pt idx="107">
                  <c:v>-1.0101000000000001E-2</c:v>
                </c:pt>
                <c:pt idx="108">
                  <c:v>-2.8846E-2</c:v>
                </c:pt>
                <c:pt idx="109">
                  <c:v>-0.06</c:v>
                </c:pt>
                <c:pt idx="110">
                  <c:v>-0.14285700000000001</c:v>
                </c:pt>
                <c:pt idx="111">
                  <c:v>-0.13333300000000001</c:v>
                </c:pt>
                <c:pt idx="112">
                  <c:v>-9.8039000000000001E-2</c:v>
                </c:pt>
                <c:pt idx="113">
                  <c:v>8.1631999999999996E-2</c:v>
                </c:pt>
                <c:pt idx="114">
                  <c:v>-2.9701999999999999E-2</c:v>
                </c:pt>
                <c:pt idx="115">
                  <c:v>8.5106000000000001E-2</c:v>
                </c:pt>
                <c:pt idx="116">
                  <c:v>9.3748999999999999E-2</c:v>
                </c:pt>
                <c:pt idx="117">
                  <c:v>0.34065899999999999</c:v>
                </c:pt>
                <c:pt idx="118">
                  <c:v>0.45652100000000001</c:v>
                </c:pt>
                <c:pt idx="119">
                  <c:v>0.46226400000000001</c:v>
                </c:pt>
                <c:pt idx="120">
                  <c:v>0.622448</c:v>
                </c:pt>
                <c:pt idx="121">
                  <c:v>0.69607799999999997</c:v>
                </c:pt>
                <c:pt idx="122">
                  <c:v>0.63809499999999997</c:v>
                </c:pt>
                <c:pt idx="123">
                  <c:v>0.49180299999999999</c:v>
                </c:pt>
                <c:pt idx="124">
                  <c:v>0.30597000000000002</c:v>
                </c:pt>
                <c:pt idx="125">
                  <c:v>0.12257999999999999</c:v>
                </c:pt>
                <c:pt idx="126">
                  <c:v>8.8050000000000003E-2</c:v>
                </c:pt>
                <c:pt idx="127">
                  <c:v>0</c:v>
                </c:pt>
                <c:pt idx="128">
                  <c:v>0</c:v>
                </c:pt>
                <c:pt idx="129">
                  <c:v>2.1978000000000001E-2</c:v>
                </c:pt>
                <c:pt idx="130">
                  <c:v>9.1427999999999995E-2</c:v>
                </c:pt>
                <c:pt idx="131">
                  <c:v>6.3217999999999996E-2</c:v>
                </c:pt>
                <c:pt idx="132">
                  <c:v>5.2023E-2</c:v>
                </c:pt>
                <c:pt idx="133">
                  <c:v>-4.0461999999999998E-2</c:v>
                </c:pt>
                <c:pt idx="134">
                  <c:v>-9.3022999999999995E-2</c:v>
                </c:pt>
                <c:pt idx="135">
                  <c:v>-0.12903200000000001</c:v>
                </c:pt>
                <c:pt idx="136">
                  <c:v>-0.17801</c:v>
                </c:pt>
                <c:pt idx="137">
                  <c:v>-0.22702700000000001</c:v>
                </c:pt>
                <c:pt idx="138">
                  <c:v>-0.241758</c:v>
                </c:pt>
                <c:pt idx="139">
                  <c:v>-0.17469799999999999</c:v>
                </c:pt>
                <c:pt idx="140">
                  <c:v>-9.6153000000000002E-2</c:v>
                </c:pt>
                <c:pt idx="141">
                  <c:v>-0.111111</c:v>
                </c:pt>
                <c:pt idx="142">
                  <c:v>-0.18471299999999999</c:v>
                </c:pt>
                <c:pt idx="143">
                  <c:v>-0.118881</c:v>
                </c:pt>
                <c:pt idx="144">
                  <c:v>-7.9710000000000003E-2</c:v>
                </c:pt>
                <c:pt idx="145">
                  <c:v>-7.2992000000000001E-2</c:v>
                </c:pt>
                <c:pt idx="146">
                  <c:v>-0.12765899999999999</c:v>
                </c:pt>
                <c:pt idx="147">
                  <c:v>-0.14583299999999999</c:v>
                </c:pt>
                <c:pt idx="148">
                  <c:v>-0.140625</c:v>
                </c:pt>
                <c:pt idx="149">
                  <c:v>-0.111111</c:v>
                </c:pt>
                <c:pt idx="150">
                  <c:v>-8.6613999999999997E-2</c:v>
                </c:pt>
                <c:pt idx="151">
                  <c:v>-8.6613999999999997E-2</c:v>
                </c:pt>
                <c:pt idx="152">
                  <c:v>-5.6910000000000002E-2</c:v>
                </c:pt>
                <c:pt idx="153">
                  <c:v>-1.626E-2</c:v>
                </c:pt>
                <c:pt idx="154">
                  <c:v>9.0900000000000009E-3</c:v>
                </c:pt>
                <c:pt idx="155">
                  <c:v>5.3571000000000001E-2</c:v>
                </c:pt>
                <c:pt idx="156">
                  <c:v>7.7586000000000002E-2</c:v>
                </c:pt>
                <c:pt idx="157">
                  <c:v>3.4481999999999999E-2</c:v>
                </c:pt>
                <c:pt idx="158">
                  <c:v>5.1723999999999999E-2</c:v>
                </c:pt>
                <c:pt idx="159">
                  <c:v>0</c:v>
                </c:pt>
                <c:pt idx="160">
                  <c:v>4.5045000000000002E-2</c:v>
                </c:pt>
                <c:pt idx="161">
                  <c:v>0.13559299999999999</c:v>
                </c:pt>
                <c:pt idx="162">
                  <c:v>0.12</c:v>
                </c:pt>
                <c:pt idx="163">
                  <c:v>0.13333300000000001</c:v>
                </c:pt>
                <c:pt idx="164">
                  <c:v>7.3770000000000002E-2</c:v>
                </c:pt>
                <c:pt idx="165">
                  <c:v>8.2640000000000005E-3</c:v>
                </c:pt>
                <c:pt idx="166">
                  <c:v>0.120689</c:v>
                </c:pt>
                <c:pt idx="167">
                  <c:v>-7.4625999999999998E-2</c:v>
                </c:pt>
                <c:pt idx="168">
                  <c:v>-0.157142</c:v>
                </c:pt>
                <c:pt idx="169">
                  <c:v>-7.3528999999999997E-2</c:v>
                </c:pt>
                <c:pt idx="170">
                  <c:v>1.5266999999999999E-2</c:v>
                </c:pt>
                <c:pt idx="171">
                  <c:v>8.1966999999999998E-2</c:v>
                </c:pt>
                <c:pt idx="172">
                  <c:v>0.123076</c:v>
                </c:pt>
                <c:pt idx="173">
                  <c:v>0.24193500000000001</c:v>
                </c:pt>
                <c:pt idx="174">
                  <c:v>0.38983000000000001</c:v>
                </c:pt>
                <c:pt idx="175">
                  <c:v>0.26190400000000003</c:v>
                </c:pt>
                <c:pt idx="176">
                  <c:v>0.15037500000000001</c:v>
                </c:pt>
                <c:pt idx="177">
                  <c:v>0.18939300000000001</c:v>
                </c:pt>
                <c:pt idx="178">
                  <c:v>6.8492999999999998E-2</c:v>
                </c:pt>
                <c:pt idx="179">
                  <c:v>-4.5454000000000001E-2</c:v>
                </c:pt>
                <c:pt idx="180">
                  <c:v>-0.13414599999999999</c:v>
                </c:pt>
                <c:pt idx="181">
                  <c:v>-8.1761E-2</c:v>
                </c:pt>
                <c:pt idx="182">
                  <c:v>2.6143E-2</c:v>
                </c:pt>
                <c:pt idx="183">
                  <c:v>-2.5477E-2</c:v>
                </c:pt>
                <c:pt idx="184">
                  <c:v>-6.4102000000000006E-2</c:v>
                </c:pt>
                <c:pt idx="185">
                  <c:v>4.0815999999999998E-2</c:v>
                </c:pt>
                <c:pt idx="186">
                  <c:v>0.105633</c:v>
                </c:pt>
                <c:pt idx="187">
                  <c:v>1.3698E-2</c:v>
                </c:pt>
                <c:pt idx="188">
                  <c:v>-6.3689999999999997E-3</c:v>
                </c:pt>
                <c:pt idx="189">
                  <c:v>-7.8431000000000001E-2</c:v>
                </c:pt>
                <c:pt idx="190">
                  <c:v>-2.0546999999999999E-2</c:v>
                </c:pt>
                <c:pt idx="191">
                  <c:v>-3.9215E-2</c:v>
                </c:pt>
                <c:pt idx="192">
                  <c:v>1.9108E-2</c:v>
                </c:pt>
                <c:pt idx="193">
                  <c:v>4.7296999999999999E-2</c:v>
                </c:pt>
                <c:pt idx="194">
                  <c:v>2.5641000000000001E-2</c:v>
                </c:pt>
                <c:pt idx="195">
                  <c:v>6.3828999999999997E-2</c:v>
                </c:pt>
                <c:pt idx="196">
                  <c:v>3.4965000000000003E-2</c:v>
                </c:pt>
                <c:pt idx="197">
                  <c:v>-1.3605000000000001E-2</c:v>
                </c:pt>
                <c:pt idx="198">
                  <c:v>-0.16250000000000001</c:v>
                </c:pt>
                <c:pt idx="199">
                  <c:v>-0.23225799999999999</c:v>
                </c:pt>
                <c:pt idx="200">
                  <c:v>-0.256249</c:v>
                </c:pt>
                <c:pt idx="201">
                  <c:v>-0.25333299999999997</c:v>
                </c:pt>
                <c:pt idx="202">
                  <c:v>-0.24324299999999999</c:v>
                </c:pt>
                <c:pt idx="203">
                  <c:v>-0.151724</c:v>
                </c:pt>
                <c:pt idx="204">
                  <c:v>-0.11940199999999999</c:v>
                </c:pt>
                <c:pt idx="205">
                  <c:v>4.2015999999999998E-2</c:v>
                </c:pt>
                <c:pt idx="206">
                  <c:v>3.3612999999999997E-2</c:v>
                </c:pt>
                <c:pt idx="207">
                  <c:v>8.9285000000000003E-2</c:v>
                </c:pt>
                <c:pt idx="208">
                  <c:v>0.107142</c:v>
                </c:pt>
                <c:pt idx="209">
                  <c:v>-8.1300000000000001E-3</c:v>
                </c:pt>
                <c:pt idx="210">
                  <c:v>-8.4745000000000001E-2</c:v>
                </c:pt>
                <c:pt idx="211">
                  <c:v>-0.153225</c:v>
                </c:pt>
                <c:pt idx="212">
                  <c:v>-0.17073099999999999</c:v>
                </c:pt>
                <c:pt idx="213">
                  <c:v>-0.213114</c:v>
                </c:pt>
                <c:pt idx="214">
                  <c:v>-0.22580600000000001</c:v>
                </c:pt>
                <c:pt idx="215">
                  <c:v>-0.22950799999999999</c:v>
                </c:pt>
                <c:pt idx="216">
                  <c:v>-0.30555500000000002</c:v>
                </c:pt>
                <c:pt idx="217">
                  <c:v>-0.228571</c:v>
                </c:pt>
                <c:pt idx="218">
                  <c:v>-0.156862</c:v>
                </c:pt>
                <c:pt idx="219">
                  <c:v>-8.3333000000000004E-2</c:v>
                </c:pt>
                <c:pt idx="220">
                  <c:v>-7.2915999999999995E-2</c:v>
                </c:pt>
                <c:pt idx="221">
                  <c:v>0</c:v>
                </c:pt>
                <c:pt idx="222">
                  <c:v>0.28000000000000003</c:v>
                </c:pt>
                <c:pt idx="223">
                  <c:v>0.34567900000000001</c:v>
                </c:pt>
                <c:pt idx="224">
                  <c:v>0.16278999999999999</c:v>
                </c:pt>
                <c:pt idx="225">
                  <c:v>6.8181000000000005E-2</c:v>
                </c:pt>
                <c:pt idx="226">
                  <c:v>-4.4942999999999997E-2</c:v>
                </c:pt>
                <c:pt idx="227">
                  <c:v>-0.138297</c:v>
                </c:pt>
                <c:pt idx="228">
                  <c:v>-0.22916600000000001</c:v>
                </c:pt>
                <c:pt idx="229">
                  <c:v>-0.37614599999999998</c:v>
                </c:pt>
                <c:pt idx="230">
                  <c:v>-0.35</c:v>
                </c:pt>
                <c:pt idx="231">
                  <c:v>-0.30851000000000001</c:v>
                </c:pt>
                <c:pt idx="232">
                  <c:v>-0.29411700000000002</c:v>
                </c:pt>
                <c:pt idx="233">
                  <c:v>-0.25925900000000002</c:v>
                </c:pt>
                <c:pt idx="234">
                  <c:v>-0.148648</c:v>
                </c:pt>
                <c:pt idx="235">
                  <c:v>-8.8234999999999994E-2</c:v>
                </c:pt>
                <c:pt idx="236">
                  <c:v>-3.0769000000000001E-2</c:v>
                </c:pt>
                <c:pt idx="237">
                  <c:v>-0.107692</c:v>
                </c:pt>
                <c:pt idx="238">
                  <c:v>-0.13333300000000001</c:v>
                </c:pt>
                <c:pt idx="239">
                  <c:v>-8.3333000000000004E-2</c:v>
                </c:pt>
                <c:pt idx="240">
                  <c:v>-0.15873000000000001</c:v>
                </c:pt>
                <c:pt idx="241">
                  <c:v>-0.27419300000000002</c:v>
                </c:pt>
                <c:pt idx="242">
                  <c:v>-0.38095200000000001</c:v>
                </c:pt>
                <c:pt idx="243">
                  <c:v>-0.37930999999999998</c:v>
                </c:pt>
                <c:pt idx="244">
                  <c:v>-0.44230700000000001</c:v>
                </c:pt>
                <c:pt idx="245">
                  <c:v>-0.32727200000000001</c:v>
                </c:pt>
                <c:pt idx="246">
                  <c:v>-0.35848999999999998</c:v>
                </c:pt>
                <c:pt idx="247">
                  <c:v>-0.31111100000000003</c:v>
                </c:pt>
                <c:pt idx="248">
                  <c:v>-0.12820500000000001</c:v>
                </c:pt>
                <c:pt idx="249">
                  <c:v>5.5555E-2</c:v>
                </c:pt>
                <c:pt idx="250">
                  <c:v>0.31034400000000001</c:v>
                </c:pt>
                <c:pt idx="251">
                  <c:v>8.1081E-2</c:v>
                </c:pt>
                <c:pt idx="252">
                  <c:v>0</c:v>
                </c:pt>
                <c:pt idx="253">
                  <c:v>9.6773999999999999E-2</c:v>
                </c:pt>
                <c:pt idx="254">
                  <c:v>-5.8823E-2</c:v>
                </c:pt>
                <c:pt idx="255">
                  <c:v>-0.26315699999999997</c:v>
                </c:pt>
                <c:pt idx="256">
                  <c:v>-0.31578899999999999</c:v>
                </c:pt>
                <c:pt idx="257">
                  <c:v>-0.42499999999999999</c:v>
                </c:pt>
                <c:pt idx="258">
                  <c:v>-0.5</c:v>
                </c:pt>
                <c:pt idx="259">
                  <c:v>-0.55882299999999996</c:v>
                </c:pt>
                <c:pt idx="260">
                  <c:v>-0.59374899999999997</c:v>
                </c:pt>
                <c:pt idx="261">
                  <c:v>-0.60714199999999996</c:v>
                </c:pt>
                <c:pt idx="262">
                  <c:v>-0.57692299999999996</c:v>
                </c:pt>
                <c:pt idx="263">
                  <c:v>-0.56521699999999997</c:v>
                </c:pt>
                <c:pt idx="264">
                  <c:v>-0.352941</c:v>
                </c:pt>
                <c:pt idx="265">
                  <c:v>-0.26666600000000001</c:v>
                </c:pt>
                <c:pt idx="266">
                  <c:v>-0.30769200000000002</c:v>
                </c:pt>
                <c:pt idx="267">
                  <c:v>-9.0909000000000004E-2</c:v>
                </c:pt>
                <c:pt idx="268">
                  <c:v>-0.18181800000000001</c:v>
                </c:pt>
                <c:pt idx="269">
                  <c:v>-0.3</c:v>
                </c:pt>
                <c:pt idx="270">
                  <c:v>-0.36363600000000001</c:v>
                </c:pt>
                <c:pt idx="271">
                  <c:v>-0.36363600000000001</c:v>
                </c:pt>
                <c:pt idx="272">
                  <c:v>0.111111</c:v>
                </c:pt>
                <c:pt idx="273">
                  <c:v>0</c:v>
                </c:pt>
                <c:pt idx="274">
                  <c:v>-0.222222</c:v>
                </c:pt>
                <c:pt idx="275">
                  <c:v>0.28571400000000002</c:v>
                </c:pt>
                <c:pt idx="276">
                  <c:v>0.42857099999999998</c:v>
                </c:pt>
                <c:pt idx="277">
                  <c:v>0.28571400000000002</c:v>
                </c:pt>
                <c:pt idx="278">
                  <c:v>-0.2</c:v>
                </c:pt>
                <c:pt idx="279">
                  <c:v>-0.6</c:v>
                </c:pt>
                <c:pt idx="280">
                  <c:v>-0.42857099999999998</c:v>
                </c:pt>
                <c:pt idx="281">
                  <c:v>-0.66666599999999998</c:v>
                </c:pt>
                <c:pt idx="282">
                  <c:v>-0.8</c:v>
                </c:pt>
                <c:pt idx="283">
                  <c:v>-0.88888900000000004</c:v>
                </c:pt>
                <c:pt idx="284">
                  <c:v>-0.875</c:v>
                </c:pt>
                <c:pt idx="285">
                  <c:v>-0.75</c:v>
                </c:pt>
                <c:pt idx="286">
                  <c:v>-0.5</c:v>
                </c:pt>
                <c:pt idx="287">
                  <c:v>-0.33333299999999999</c:v>
                </c:pt>
                <c:pt idx="288">
                  <c:v>0</c:v>
                </c:pt>
                <c:pt idx="289">
                  <c:v>0</c:v>
                </c:pt>
                <c:pt idx="290">
                  <c:v>2.0000040000000001</c:v>
                </c:pt>
                <c:pt idx="291">
                  <c:v>2.0000040000000001</c:v>
                </c:pt>
                <c:pt idx="292">
                  <c:v>1.0000009999999999</c:v>
                </c:pt>
                <c:pt idx="293">
                  <c:v>0.5</c:v>
                </c:pt>
                <c:pt idx="294">
                  <c:v>0.5</c:v>
                </c:pt>
                <c:pt idx="295">
                  <c:v>2.0000040000000001</c:v>
                </c:pt>
                <c:pt idx="296">
                  <c:v>0</c:v>
                </c:pt>
                <c:pt idx="297">
                  <c:v>-0.66666700000000001</c:v>
                </c:pt>
                <c:pt idx="298">
                  <c:v>-0.75</c:v>
                </c:pt>
                <c:pt idx="299">
                  <c:v>-1</c:v>
                </c:pt>
                <c:pt idx="300">
                  <c:v>-1</c:v>
                </c:pt>
                <c:pt idx="301">
                  <c:v>-1</c:v>
                </c:pt>
                <c:pt idx="302">
                  <c:v>-1</c:v>
                </c:pt>
                <c:pt idx="303">
                  <c:v>-1</c:v>
                </c:pt>
                <c:pt idx="304">
                  <c:v>-1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1.0000020000000001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1.0000020000000001</c:v>
                </c:pt>
                <c:pt idx="323">
                  <c:v>1.0000020000000001</c:v>
                </c:pt>
                <c:pt idx="324">
                  <c:v>1.0000020000000001</c:v>
                </c:pt>
                <c:pt idx="325">
                  <c:v>2.0000040000000001</c:v>
                </c:pt>
                <c:pt idx="326">
                  <c:v>0.5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1.0000009999999999</c:v>
                </c:pt>
                <c:pt idx="334">
                  <c:v>1.0000009999999999</c:v>
                </c:pt>
                <c:pt idx="335">
                  <c:v>0.5</c:v>
                </c:pt>
                <c:pt idx="336">
                  <c:v>0.5</c:v>
                </c:pt>
                <c:pt idx="337">
                  <c:v>0.33333299999999999</c:v>
                </c:pt>
                <c:pt idx="338">
                  <c:v>0</c:v>
                </c:pt>
                <c:pt idx="339">
                  <c:v>-0.25</c:v>
                </c:pt>
                <c:pt idx="340">
                  <c:v>-0.5</c:v>
                </c:pt>
                <c:pt idx="341">
                  <c:v>-0.33333299999999999</c:v>
                </c:pt>
                <c:pt idx="342">
                  <c:v>-0.33333299999999999</c:v>
                </c:pt>
                <c:pt idx="343">
                  <c:v>-0.5</c:v>
                </c:pt>
                <c:pt idx="344">
                  <c:v>-0.33333299999999999</c:v>
                </c:pt>
                <c:pt idx="345">
                  <c:v>-0.33333299999999999</c:v>
                </c:pt>
                <c:pt idx="346">
                  <c:v>-0.5</c:v>
                </c:pt>
                <c:pt idx="347">
                  <c:v>-0.5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-0.5</c:v>
                </c:pt>
                <c:pt idx="352">
                  <c:v>0</c:v>
                </c:pt>
                <c:pt idx="353">
                  <c:v>3.000006</c:v>
                </c:pt>
                <c:pt idx="354">
                  <c:v>1.5000009999999999</c:v>
                </c:pt>
                <c:pt idx="355">
                  <c:v>1.0000009999999999</c:v>
                </c:pt>
                <c:pt idx="356">
                  <c:v>1.5000009999999999</c:v>
                </c:pt>
                <c:pt idx="357">
                  <c:v>5.0000099999999996</c:v>
                </c:pt>
                <c:pt idx="358">
                  <c:v>6.0000119999999999</c:v>
                </c:pt>
                <c:pt idx="359">
                  <c:v>0.75</c:v>
                </c:pt>
                <c:pt idx="360">
                  <c:v>-0.2</c:v>
                </c:pt>
                <c:pt idx="361">
                  <c:v>-0.25</c:v>
                </c:pt>
                <c:pt idx="362">
                  <c:v>-0.4</c:v>
                </c:pt>
                <c:pt idx="363">
                  <c:v>-0.66666599999999998</c:v>
                </c:pt>
                <c:pt idx="364">
                  <c:v>-0.85714299999999999</c:v>
                </c:pt>
                <c:pt idx="365">
                  <c:v>-0.85714299999999999</c:v>
                </c:pt>
                <c:pt idx="366">
                  <c:v>-0.75</c:v>
                </c:pt>
                <c:pt idx="367">
                  <c:v>0.33333299999999999</c:v>
                </c:pt>
                <c:pt idx="368">
                  <c:v>0.33333299999999999</c:v>
                </c:pt>
                <c:pt idx="369">
                  <c:v>1.5000009999999999</c:v>
                </c:pt>
                <c:pt idx="370">
                  <c:v>4.0000080000000002</c:v>
                </c:pt>
                <c:pt idx="371">
                  <c:v>5.0000099999999996</c:v>
                </c:pt>
                <c:pt idx="372">
                  <c:v>4.0000080000000002</c:v>
                </c:pt>
                <c:pt idx="373">
                  <c:v>0.25</c:v>
                </c:pt>
                <c:pt idx="374">
                  <c:v>-0.25</c:v>
                </c:pt>
                <c:pt idx="375">
                  <c:v>-0.4</c:v>
                </c:pt>
                <c:pt idx="376">
                  <c:v>-0.6</c:v>
                </c:pt>
                <c:pt idx="377">
                  <c:v>0</c:v>
                </c:pt>
                <c:pt idx="378">
                  <c:v>0.2</c:v>
                </c:pt>
                <c:pt idx="379">
                  <c:v>0.2</c:v>
                </c:pt>
                <c:pt idx="380">
                  <c:v>1</c:v>
                </c:pt>
                <c:pt idx="381">
                  <c:v>1</c:v>
                </c:pt>
                <c:pt idx="382">
                  <c:v>2.0000019999999998</c:v>
                </c:pt>
                <c:pt idx="383">
                  <c:v>0.16666600000000001</c:v>
                </c:pt>
                <c:pt idx="384">
                  <c:v>-0.5</c:v>
                </c:pt>
                <c:pt idx="385">
                  <c:v>-0.66666599999999998</c:v>
                </c:pt>
                <c:pt idx="386">
                  <c:v>-0.66666599999999998</c:v>
                </c:pt>
                <c:pt idx="387">
                  <c:v>-0.5</c:v>
                </c:pt>
                <c:pt idx="388">
                  <c:v>-0.66666599999999998</c:v>
                </c:pt>
                <c:pt idx="389">
                  <c:v>-0.57142800000000005</c:v>
                </c:pt>
                <c:pt idx="390">
                  <c:v>0</c:v>
                </c:pt>
                <c:pt idx="391">
                  <c:v>1.5000009999999999</c:v>
                </c:pt>
                <c:pt idx="392">
                  <c:v>2.0000019999999998</c:v>
                </c:pt>
                <c:pt idx="393">
                  <c:v>1.6666669999999999</c:v>
                </c:pt>
                <c:pt idx="394">
                  <c:v>3.000003</c:v>
                </c:pt>
                <c:pt idx="395">
                  <c:v>2.666668</c:v>
                </c:pt>
                <c:pt idx="396">
                  <c:v>2.3333339999999998</c:v>
                </c:pt>
                <c:pt idx="397">
                  <c:v>1.2</c:v>
                </c:pt>
                <c:pt idx="398">
                  <c:v>1</c:v>
                </c:pt>
                <c:pt idx="399">
                  <c:v>1.125</c:v>
                </c:pt>
                <c:pt idx="400">
                  <c:v>1.625</c:v>
                </c:pt>
                <c:pt idx="401">
                  <c:v>1.181818</c:v>
                </c:pt>
                <c:pt idx="402">
                  <c:v>1.2</c:v>
                </c:pt>
                <c:pt idx="403">
                  <c:v>1</c:v>
                </c:pt>
                <c:pt idx="404">
                  <c:v>0.74999899999999997</c:v>
                </c:pt>
                <c:pt idx="405">
                  <c:v>0.52941099999999996</c:v>
                </c:pt>
                <c:pt idx="406">
                  <c:v>4.7619000000000002E-2</c:v>
                </c:pt>
                <c:pt idx="407">
                  <c:v>-0.16666600000000001</c:v>
                </c:pt>
                <c:pt idx="408">
                  <c:v>0</c:v>
                </c:pt>
                <c:pt idx="409">
                  <c:v>9.0909000000000004E-2</c:v>
                </c:pt>
                <c:pt idx="410">
                  <c:v>0.19047600000000001</c:v>
                </c:pt>
                <c:pt idx="411">
                  <c:v>-7.6923000000000005E-2</c:v>
                </c:pt>
                <c:pt idx="412">
                  <c:v>-9.0909000000000004E-2</c:v>
                </c:pt>
                <c:pt idx="413">
                  <c:v>-0.05</c:v>
                </c:pt>
                <c:pt idx="414">
                  <c:v>-9.0909000000000004E-2</c:v>
                </c:pt>
                <c:pt idx="415">
                  <c:v>-0.375</c:v>
                </c:pt>
                <c:pt idx="416">
                  <c:v>-0.43999899999999997</c:v>
                </c:pt>
                <c:pt idx="417">
                  <c:v>-0.33333299999999999</c:v>
                </c:pt>
                <c:pt idx="418">
                  <c:v>0.05</c:v>
                </c:pt>
                <c:pt idx="419">
                  <c:v>0.68420999999999998</c:v>
                </c:pt>
                <c:pt idx="420">
                  <c:v>0.65</c:v>
                </c:pt>
                <c:pt idx="421">
                  <c:v>1.1333329999999999</c:v>
                </c:pt>
                <c:pt idx="422">
                  <c:v>1.428571</c:v>
                </c:pt>
                <c:pt idx="423">
                  <c:v>1.5</c:v>
                </c:pt>
                <c:pt idx="424">
                  <c:v>0.90476100000000004</c:v>
                </c:pt>
                <c:pt idx="425">
                  <c:v>0.21875</c:v>
                </c:pt>
                <c:pt idx="426">
                  <c:v>0.18181800000000001</c:v>
                </c:pt>
                <c:pt idx="427">
                  <c:v>0.625</c:v>
                </c:pt>
                <c:pt idx="428">
                  <c:v>0.70588200000000001</c:v>
                </c:pt>
                <c:pt idx="429">
                  <c:v>0.59999899999999995</c:v>
                </c:pt>
                <c:pt idx="430">
                  <c:v>0.8</c:v>
                </c:pt>
                <c:pt idx="431">
                  <c:v>1.1025640000000001</c:v>
                </c:pt>
                <c:pt idx="432">
                  <c:v>1.230769</c:v>
                </c:pt>
                <c:pt idx="433">
                  <c:v>0.65384600000000004</c:v>
                </c:pt>
                <c:pt idx="434">
                  <c:v>0.53448200000000001</c:v>
                </c:pt>
                <c:pt idx="435">
                  <c:v>0.53125</c:v>
                </c:pt>
                <c:pt idx="436">
                  <c:v>0.41666599999999998</c:v>
                </c:pt>
                <c:pt idx="437">
                  <c:v>0.17073099999999999</c:v>
                </c:pt>
                <c:pt idx="438">
                  <c:v>6.8964999999999999E-2</c:v>
                </c:pt>
                <c:pt idx="439">
                  <c:v>4.6510999999999997E-2</c:v>
                </c:pt>
                <c:pt idx="440">
                  <c:v>4.4942999999999997E-2</c:v>
                </c:pt>
                <c:pt idx="441">
                  <c:v>-8.1631999999999996E-2</c:v>
                </c:pt>
                <c:pt idx="442">
                  <c:v>-0.17646999999999999</c:v>
                </c:pt>
                <c:pt idx="443">
                  <c:v>2.0833000000000001E-2</c:v>
                </c:pt>
                <c:pt idx="444">
                  <c:v>0.118279</c:v>
                </c:pt>
                <c:pt idx="445">
                  <c:v>0.16666600000000001</c:v>
                </c:pt>
                <c:pt idx="446">
                  <c:v>0.32257999999999998</c:v>
                </c:pt>
                <c:pt idx="447">
                  <c:v>0.54444400000000004</c:v>
                </c:pt>
                <c:pt idx="448">
                  <c:v>0.76190400000000003</c:v>
                </c:pt>
                <c:pt idx="449">
                  <c:v>0.45918300000000001</c:v>
                </c:pt>
                <c:pt idx="450">
                  <c:v>0.38461499999999998</c:v>
                </c:pt>
                <c:pt idx="451">
                  <c:v>0.40952300000000003</c:v>
                </c:pt>
                <c:pt idx="452">
                  <c:v>0.21951200000000001</c:v>
                </c:pt>
                <c:pt idx="453">
                  <c:v>-1.4388E-2</c:v>
                </c:pt>
                <c:pt idx="454">
                  <c:v>-0.162162</c:v>
                </c:pt>
                <c:pt idx="455">
                  <c:v>-0.17482500000000001</c:v>
                </c:pt>
                <c:pt idx="456">
                  <c:v>-9.7222000000000003E-2</c:v>
                </c:pt>
                <c:pt idx="457">
                  <c:v>-0.175675</c:v>
                </c:pt>
                <c:pt idx="458">
                  <c:v>-0.27333299999999999</c:v>
                </c:pt>
                <c:pt idx="459">
                  <c:v>-0.175182</c:v>
                </c:pt>
                <c:pt idx="460">
                  <c:v>-0.12903200000000001</c:v>
                </c:pt>
                <c:pt idx="461">
                  <c:v>-3.3897999999999998E-2</c:v>
                </c:pt>
                <c:pt idx="462">
                  <c:v>-0.16922999999999999</c:v>
                </c:pt>
                <c:pt idx="463">
                  <c:v>-0.19672100000000001</c:v>
                </c:pt>
                <c:pt idx="464">
                  <c:v>-0.13761399999999999</c:v>
                </c:pt>
                <c:pt idx="465">
                  <c:v>-0.141592</c:v>
                </c:pt>
                <c:pt idx="466">
                  <c:v>-0.15740699999999999</c:v>
                </c:pt>
                <c:pt idx="467">
                  <c:v>-0.16666600000000001</c:v>
                </c:pt>
                <c:pt idx="468">
                  <c:v>-0.222222</c:v>
                </c:pt>
                <c:pt idx="469">
                  <c:v>-5.1020000000000003E-2</c:v>
                </c:pt>
                <c:pt idx="470">
                  <c:v>2.1276E-2</c:v>
                </c:pt>
                <c:pt idx="471">
                  <c:v>-1.0309E-2</c:v>
                </c:pt>
                <c:pt idx="472">
                  <c:v>2.1978000000000001E-2</c:v>
                </c:pt>
                <c:pt idx="473">
                  <c:v>-8.4209999999999993E-2</c:v>
                </c:pt>
                <c:pt idx="474">
                  <c:v>-1.1904E-2</c:v>
                </c:pt>
                <c:pt idx="475">
                  <c:v>-6.4516000000000004E-2</c:v>
                </c:pt>
                <c:pt idx="476">
                  <c:v>-0.15625</c:v>
                </c:pt>
                <c:pt idx="477">
                  <c:v>-0.19791600000000001</c:v>
                </c:pt>
                <c:pt idx="478">
                  <c:v>-0.193548</c:v>
                </c:pt>
                <c:pt idx="479">
                  <c:v>-0.16091900000000001</c:v>
                </c:pt>
                <c:pt idx="480">
                  <c:v>-0.13253000000000001</c:v>
                </c:pt>
                <c:pt idx="481">
                  <c:v>-0.16091900000000001</c:v>
                </c:pt>
                <c:pt idx="482">
                  <c:v>-0.13580200000000001</c:v>
                </c:pt>
                <c:pt idx="483">
                  <c:v>0</c:v>
                </c:pt>
                <c:pt idx="484">
                  <c:v>0.08</c:v>
                </c:pt>
                <c:pt idx="485">
                  <c:v>6.8492999999999998E-2</c:v>
                </c:pt>
                <c:pt idx="486">
                  <c:v>9.7222000000000003E-2</c:v>
                </c:pt>
                <c:pt idx="487">
                  <c:v>0.164383</c:v>
                </c:pt>
                <c:pt idx="488">
                  <c:v>0.24285699999999999</c:v>
                </c:pt>
                <c:pt idx="489">
                  <c:v>0</c:v>
                </c:pt>
                <c:pt idx="490">
                  <c:v>-0.234567</c:v>
                </c:pt>
                <c:pt idx="491">
                  <c:v>-0.29487099999999999</c:v>
                </c:pt>
                <c:pt idx="492">
                  <c:v>-0.37974599999999997</c:v>
                </c:pt>
                <c:pt idx="493">
                  <c:v>-0.364705</c:v>
                </c:pt>
                <c:pt idx="494">
                  <c:v>-0.43678099999999997</c:v>
                </c:pt>
                <c:pt idx="495">
                  <c:v>-0.38961000000000001</c:v>
                </c:pt>
                <c:pt idx="496">
                  <c:v>-0.14516100000000001</c:v>
                </c:pt>
                <c:pt idx="497">
                  <c:v>-5.4545000000000003E-2</c:v>
                </c:pt>
                <c:pt idx="498">
                  <c:v>8.1631999999999996E-2</c:v>
                </c:pt>
                <c:pt idx="499">
                  <c:v>-3.7037E-2</c:v>
                </c:pt>
                <c:pt idx="500">
                  <c:v>0</c:v>
                </c:pt>
                <c:pt idx="501">
                  <c:v>-4.2553000000000001E-2</c:v>
                </c:pt>
                <c:pt idx="502">
                  <c:v>-0.245283</c:v>
                </c:pt>
                <c:pt idx="503">
                  <c:v>-0.30769200000000002</c:v>
                </c:pt>
                <c:pt idx="504">
                  <c:v>-0.37735800000000003</c:v>
                </c:pt>
                <c:pt idx="505">
                  <c:v>-0.36538399999999999</c:v>
                </c:pt>
                <c:pt idx="506">
                  <c:v>-0.30612200000000001</c:v>
                </c:pt>
                <c:pt idx="507">
                  <c:v>-0.24444399999999999</c:v>
                </c:pt>
                <c:pt idx="508">
                  <c:v>0.05</c:v>
                </c:pt>
                <c:pt idx="509">
                  <c:v>0.44444400000000001</c:v>
                </c:pt>
                <c:pt idx="510">
                  <c:v>0.78787799999999997</c:v>
                </c:pt>
                <c:pt idx="511">
                  <c:v>0.81818100000000005</c:v>
                </c:pt>
                <c:pt idx="512">
                  <c:v>0.76470499999999997</c:v>
                </c:pt>
                <c:pt idx="513">
                  <c:v>0.88235200000000003</c:v>
                </c:pt>
                <c:pt idx="514">
                  <c:v>0.59523800000000004</c:v>
                </c:pt>
                <c:pt idx="515">
                  <c:v>0.26923000000000002</c:v>
                </c:pt>
                <c:pt idx="516">
                  <c:v>8.4745000000000001E-2</c:v>
                </c:pt>
                <c:pt idx="517">
                  <c:v>0.1</c:v>
                </c:pt>
                <c:pt idx="518">
                  <c:v>0.3</c:v>
                </c:pt>
                <c:pt idx="519">
                  <c:v>0.3125</c:v>
                </c:pt>
                <c:pt idx="520">
                  <c:v>0.37313400000000002</c:v>
                </c:pt>
                <c:pt idx="521">
                  <c:v>0.37878699999999998</c:v>
                </c:pt>
                <c:pt idx="522">
                  <c:v>0.578125</c:v>
                </c:pt>
                <c:pt idx="523">
                  <c:v>0.469696</c:v>
                </c:pt>
                <c:pt idx="524">
                  <c:v>0.217948</c:v>
                </c:pt>
                <c:pt idx="525">
                  <c:v>4.7619000000000002E-2</c:v>
                </c:pt>
                <c:pt idx="526">
                  <c:v>1.0869E-2</c:v>
                </c:pt>
                <c:pt idx="527">
                  <c:v>3.2967000000000003E-2</c:v>
                </c:pt>
                <c:pt idx="528">
                  <c:v>0</c:v>
                </c:pt>
                <c:pt idx="529">
                  <c:v>-5.1546000000000002E-2</c:v>
                </c:pt>
                <c:pt idx="530">
                  <c:v>-2.1052000000000001E-2</c:v>
                </c:pt>
                <c:pt idx="531">
                  <c:v>0.147727</c:v>
                </c:pt>
                <c:pt idx="532">
                  <c:v>0.118279</c:v>
                </c:pt>
                <c:pt idx="533">
                  <c:v>7.4468000000000006E-2</c:v>
                </c:pt>
                <c:pt idx="534">
                  <c:v>-5.9404999999999999E-2</c:v>
                </c:pt>
                <c:pt idx="535">
                  <c:v>-4.3478000000000003E-2</c:v>
                </c:pt>
                <c:pt idx="536">
                  <c:v>-9.6773999999999999E-2</c:v>
                </c:pt>
                <c:pt idx="537">
                  <c:v>-5.9404999999999999E-2</c:v>
                </c:pt>
                <c:pt idx="538">
                  <c:v>-0.163461</c:v>
                </c:pt>
                <c:pt idx="539">
                  <c:v>-7.9207E-2</c:v>
                </c:pt>
                <c:pt idx="540">
                  <c:v>2.0833000000000001E-2</c:v>
                </c:pt>
                <c:pt idx="541">
                  <c:v>9.6773999999999999E-2</c:v>
                </c:pt>
                <c:pt idx="542">
                  <c:v>2.1052000000000001E-2</c:v>
                </c:pt>
                <c:pt idx="543">
                  <c:v>-4.0404000000000002E-2</c:v>
                </c:pt>
                <c:pt idx="544">
                  <c:v>3.2967000000000003E-2</c:v>
                </c:pt>
                <c:pt idx="545">
                  <c:v>-0.10204000000000001</c:v>
                </c:pt>
                <c:pt idx="546">
                  <c:v>-0.16326499999999999</c:v>
                </c:pt>
                <c:pt idx="547">
                  <c:v>-0.303921</c:v>
                </c:pt>
                <c:pt idx="548">
                  <c:v>-0.31958700000000001</c:v>
                </c:pt>
                <c:pt idx="549">
                  <c:v>-0.34736800000000001</c:v>
                </c:pt>
                <c:pt idx="550">
                  <c:v>-0.425530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B92-4723-A6DD-F9006463A5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  <c:max val="2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PROC_JIP_v_den_pozitivity65_7dni_z_POZ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53</c:f>
              <c:numCache>
                <c:formatCode>m/d/yyyy</c:formatCode>
                <c:ptCount val="55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</c:numCache>
            </c:numRef>
          </c:cat>
          <c:val>
            <c:numRef>
              <c:f>Sheet1!$B$2:$B$553</c:f>
              <c:numCache>
                <c:formatCode>0.0%</c:formatCode>
                <c:ptCount val="552"/>
                <c:pt idx="0">
                  <c:v>1.4925373134000001E-2</c:v>
                </c:pt>
                <c:pt idx="1">
                  <c:v>1.7421602787000001E-2</c:v>
                </c:pt>
                <c:pt idx="2">
                  <c:v>1.6233766233000001E-2</c:v>
                </c:pt>
                <c:pt idx="3">
                  <c:v>2.4316109422E-2</c:v>
                </c:pt>
                <c:pt idx="4">
                  <c:v>2.6086956521000002E-2</c:v>
                </c:pt>
                <c:pt idx="5">
                  <c:v>2.9972752043000001E-2</c:v>
                </c:pt>
                <c:pt idx="6">
                  <c:v>3.0456852791000001E-2</c:v>
                </c:pt>
                <c:pt idx="7">
                  <c:v>2.4175824174999999E-2</c:v>
                </c:pt>
                <c:pt idx="8">
                  <c:v>2.1526418786E-2</c:v>
                </c:pt>
                <c:pt idx="9">
                  <c:v>2.6642984014000001E-2</c:v>
                </c:pt>
                <c:pt idx="10">
                  <c:v>2.5889967637000001E-2</c:v>
                </c:pt>
                <c:pt idx="11">
                  <c:v>2.0188425302000001E-2</c:v>
                </c:pt>
                <c:pt idx="12">
                  <c:v>2.0382165604999999E-2</c:v>
                </c:pt>
                <c:pt idx="13">
                  <c:v>1.8450184501E-2</c:v>
                </c:pt>
                <c:pt idx="14">
                  <c:v>2.7939464492999999E-2</c:v>
                </c:pt>
                <c:pt idx="15">
                  <c:v>2.4678111587E-2</c:v>
                </c:pt>
                <c:pt idx="16">
                  <c:v>2.2893772893E-2</c:v>
                </c:pt>
                <c:pt idx="17">
                  <c:v>2.1015761821000001E-2</c:v>
                </c:pt>
                <c:pt idx="18">
                  <c:v>2.2563176894999998E-2</c:v>
                </c:pt>
                <c:pt idx="19">
                  <c:v>2.4800708591E-2</c:v>
                </c:pt>
                <c:pt idx="20">
                  <c:v>2.5466893038999999E-2</c:v>
                </c:pt>
                <c:pt idx="21">
                  <c:v>2.2134387350999998E-2</c:v>
                </c:pt>
                <c:pt idx="22">
                  <c:v>2.8287461773000001E-2</c:v>
                </c:pt>
                <c:pt idx="23">
                  <c:v>3.1455742501E-2</c:v>
                </c:pt>
                <c:pt idx="24">
                  <c:v>3.1809145129000002E-2</c:v>
                </c:pt>
                <c:pt idx="25">
                  <c:v>3.2258064516000003E-2</c:v>
                </c:pt>
                <c:pt idx="26">
                  <c:v>3.041825095E-2</c:v>
                </c:pt>
                <c:pt idx="27">
                  <c:v>3.1578947368000002E-2</c:v>
                </c:pt>
                <c:pt idx="28">
                  <c:v>3.2455603184000002E-2</c:v>
                </c:pt>
                <c:pt idx="29">
                  <c:v>2.8026905828999998E-2</c:v>
                </c:pt>
                <c:pt idx="30">
                  <c:v>2.4152106885E-2</c:v>
                </c:pt>
                <c:pt idx="31">
                  <c:v>2.3977433004000001E-2</c:v>
                </c:pt>
                <c:pt idx="32">
                  <c:v>2.1992238032999999E-2</c:v>
                </c:pt>
                <c:pt idx="33">
                  <c:v>2.2810590631000001E-2</c:v>
                </c:pt>
                <c:pt idx="34">
                  <c:v>2.8934368382999998E-2</c:v>
                </c:pt>
                <c:pt idx="35">
                  <c:v>2.7795325331000001E-2</c:v>
                </c:pt>
                <c:pt idx="36">
                  <c:v>3.0216647661999999E-2</c:v>
                </c:pt>
                <c:pt idx="37">
                  <c:v>2.9568460309E-2</c:v>
                </c:pt>
                <c:pt idx="38">
                  <c:v>2.7504011001000001E-2</c:v>
                </c:pt>
                <c:pt idx="39">
                  <c:v>2.9746281714000001E-2</c:v>
                </c:pt>
                <c:pt idx="40">
                  <c:v>2.9676071054999999E-2</c:v>
                </c:pt>
                <c:pt idx="41">
                  <c:v>2.6747720363999999E-2</c:v>
                </c:pt>
                <c:pt idx="42">
                  <c:v>2.4363636362999999E-2</c:v>
                </c:pt>
                <c:pt idx="43">
                  <c:v>2.1728313153000001E-2</c:v>
                </c:pt>
                <c:pt idx="44">
                  <c:v>2.0922419059E-2</c:v>
                </c:pt>
                <c:pt idx="45">
                  <c:v>2.1347661922000001E-2</c:v>
                </c:pt>
                <c:pt idx="46">
                  <c:v>1.8138170177999999E-2</c:v>
                </c:pt>
                <c:pt idx="47">
                  <c:v>1.8485237482999999E-2</c:v>
                </c:pt>
                <c:pt idx="48">
                  <c:v>1.8262645680000002E-2</c:v>
                </c:pt>
                <c:pt idx="49">
                  <c:v>1.8056652746999999E-2</c:v>
                </c:pt>
                <c:pt idx="50">
                  <c:v>1.7353579175000002E-2</c:v>
                </c:pt>
                <c:pt idx="51">
                  <c:v>1.7296050734999999E-2</c:v>
                </c:pt>
                <c:pt idx="52">
                  <c:v>1.6324334020000001E-2</c:v>
                </c:pt>
                <c:pt idx="53">
                  <c:v>1.7161885245000001E-2</c:v>
                </c:pt>
                <c:pt idx="54">
                  <c:v>1.7368290463000001E-2</c:v>
                </c:pt>
                <c:pt idx="55">
                  <c:v>1.8627607067999999E-2</c:v>
                </c:pt>
                <c:pt idx="56">
                  <c:v>1.9145247606000001E-2</c:v>
                </c:pt>
                <c:pt idx="57">
                  <c:v>1.8733947726E-2</c:v>
                </c:pt>
                <c:pt idx="58">
                  <c:v>1.9171721709999999E-2</c:v>
                </c:pt>
                <c:pt idx="59">
                  <c:v>1.9179502368999998E-2</c:v>
                </c:pt>
                <c:pt idx="60">
                  <c:v>1.9345347554000001E-2</c:v>
                </c:pt>
                <c:pt idx="61">
                  <c:v>1.8619772425E-2</c:v>
                </c:pt>
                <c:pt idx="62">
                  <c:v>1.8695716178000001E-2</c:v>
                </c:pt>
                <c:pt idx="63">
                  <c:v>1.8332081141E-2</c:v>
                </c:pt>
                <c:pt idx="64">
                  <c:v>1.7246335153E-2</c:v>
                </c:pt>
                <c:pt idx="65">
                  <c:v>1.7061743933000001E-2</c:v>
                </c:pt>
                <c:pt idx="66">
                  <c:v>1.7229254571E-2</c:v>
                </c:pt>
                <c:pt idx="67">
                  <c:v>1.7016654597999999E-2</c:v>
                </c:pt>
                <c:pt idx="68">
                  <c:v>1.7092103298000001E-2</c:v>
                </c:pt>
                <c:pt idx="69">
                  <c:v>1.6004371925E-2</c:v>
                </c:pt>
                <c:pt idx="70">
                  <c:v>1.5787354007000001E-2</c:v>
                </c:pt>
                <c:pt idx="71">
                  <c:v>1.7692307692E-2</c:v>
                </c:pt>
                <c:pt idx="72">
                  <c:v>1.6747506177E-2</c:v>
                </c:pt>
                <c:pt idx="73">
                  <c:v>1.617903507E-2</c:v>
                </c:pt>
                <c:pt idx="74">
                  <c:v>1.6361591163999999E-2</c:v>
                </c:pt>
                <c:pt idx="75">
                  <c:v>1.6303197120000001E-2</c:v>
                </c:pt>
                <c:pt idx="76">
                  <c:v>1.5505500261E-2</c:v>
                </c:pt>
                <c:pt idx="77">
                  <c:v>1.5438189204000001E-2</c:v>
                </c:pt>
                <c:pt idx="78">
                  <c:v>1.5256410256E-2</c:v>
                </c:pt>
                <c:pt idx="79">
                  <c:v>1.6598639455000001E-2</c:v>
                </c:pt>
                <c:pt idx="80">
                  <c:v>1.7033773860999999E-2</c:v>
                </c:pt>
                <c:pt idx="81">
                  <c:v>1.7971367650999999E-2</c:v>
                </c:pt>
                <c:pt idx="82">
                  <c:v>1.8204069143999999E-2</c:v>
                </c:pt>
                <c:pt idx="83">
                  <c:v>1.6738402677999999E-2</c:v>
                </c:pt>
                <c:pt idx="84">
                  <c:v>1.6408249284E-2</c:v>
                </c:pt>
                <c:pt idx="85">
                  <c:v>1.7090069284E-2</c:v>
                </c:pt>
                <c:pt idx="86">
                  <c:v>1.6861219194999999E-2</c:v>
                </c:pt>
                <c:pt idx="87">
                  <c:v>1.7383966244000001E-2</c:v>
                </c:pt>
                <c:pt idx="88">
                  <c:v>1.6507384882000001E-2</c:v>
                </c:pt>
                <c:pt idx="89">
                  <c:v>1.6675443214999999E-2</c:v>
                </c:pt>
                <c:pt idx="90">
                  <c:v>1.9080501544000001E-2</c:v>
                </c:pt>
                <c:pt idx="91">
                  <c:v>1.9238095237999998E-2</c:v>
                </c:pt>
                <c:pt idx="92">
                  <c:v>1.9376089905000001E-2</c:v>
                </c:pt>
                <c:pt idx="93">
                  <c:v>2.1764938662000001E-2</c:v>
                </c:pt>
                <c:pt idx="94">
                  <c:v>2.2920371467999998E-2</c:v>
                </c:pt>
                <c:pt idx="95">
                  <c:v>2.2435282837000001E-2</c:v>
                </c:pt>
                <c:pt idx="96">
                  <c:v>2.3130300693000001E-2</c:v>
                </c:pt>
                <c:pt idx="97">
                  <c:v>2.1097046413E-2</c:v>
                </c:pt>
                <c:pt idx="98">
                  <c:v>2.2267964070999999E-2</c:v>
                </c:pt>
                <c:pt idx="99">
                  <c:v>2.0777359842E-2</c:v>
                </c:pt>
                <c:pt idx="100">
                  <c:v>1.929092805E-2</c:v>
                </c:pt>
                <c:pt idx="101">
                  <c:v>1.6813858694999999E-2</c:v>
                </c:pt>
                <c:pt idx="102">
                  <c:v>1.7765630338000001E-2</c:v>
                </c:pt>
                <c:pt idx="103">
                  <c:v>1.6714023065E-2</c:v>
                </c:pt>
                <c:pt idx="104">
                  <c:v>1.8261862056999999E-2</c:v>
                </c:pt>
                <c:pt idx="105">
                  <c:v>1.6751754944999999E-2</c:v>
                </c:pt>
                <c:pt idx="106">
                  <c:v>1.5787029870999999E-2</c:v>
                </c:pt>
                <c:pt idx="107">
                  <c:v>1.4783526926999999E-2</c:v>
                </c:pt>
                <c:pt idx="108">
                  <c:v>1.4482363062E-2</c:v>
                </c:pt>
                <c:pt idx="109">
                  <c:v>1.3181881923000001E-2</c:v>
                </c:pt>
                <c:pt idx="110">
                  <c:v>1.3129102844E-2</c:v>
                </c:pt>
                <c:pt idx="111">
                  <c:v>1.1847415700999999E-2</c:v>
                </c:pt>
                <c:pt idx="112">
                  <c:v>1.1224987798E-2</c:v>
                </c:pt>
                <c:pt idx="113">
                  <c:v>1.1819803746E-2</c:v>
                </c:pt>
                <c:pt idx="114">
                  <c:v>1.1600378787E-2</c:v>
                </c:pt>
                <c:pt idx="115">
                  <c:v>1.3392857142E-2</c:v>
                </c:pt>
                <c:pt idx="116">
                  <c:v>1.4075067024E-2</c:v>
                </c:pt>
                <c:pt idx="117">
                  <c:v>1.6048408313000001E-2</c:v>
                </c:pt>
                <c:pt idx="118">
                  <c:v>1.6588264421000001E-2</c:v>
                </c:pt>
                <c:pt idx="119">
                  <c:v>1.7366946777999999E-2</c:v>
                </c:pt>
                <c:pt idx="120">
                  <c:v>1.6442605996999999E-2</c:v>
                </c:pt>
                <c:pt idx="121">
                  <c:v>1.5302963290000001E-2</c:v>
                </c:pt>
                <c:pt idx="122">
                  <c:v>1.4917606244000001E-2</c:v>
                </c:pt>
                <c:pt idx="123">
                  <c:v>1.5161612795E-2</c:v>
                </c:pt>
                <c:pt idx="124">
                  <c:v>1.4010087262000001E-2</c:v>
                </c:pt>
                <c:pt idx="125">
                  <c:v>1.3308857273E-2</c:v>
                </c:pt>
                <c:pt idx="126">
                  <c:v>1.2653598594999999E-2</c:v>
                </c:pt>
                <c:pt idx="127">
                  <c:v>1.2353613253000001E-2</c:v>
                </c:pt>
                <c:pt idx="128">
                  <c:v>1.1723808874E-2</c:v>
                </c:pt>
                <c:pt idx="129">
                  <c:v>1.1216982269E-2</c:v>
                </c:pt>
                <c:pt idx="130">
                  <c:v>1.1129887535000001E-2</c:v>
                </c:pt>
                <c:pt idx="131">
                  <c:v>1.1005353955E-2</c:v>
                </c:pt>
                <c:pt idx="132">
                  <c:v>1.1193111931E-2</c:v>
                </c:pt>
                <c:pt idx="133">
                  <c:v>1.0958542381000001E-2</c:v>
                </c:pt>
                <c:pt idx="134">
                  <c:v>1.1151619129E-2</c:v>
                </c:pt>
                <c:pt idx="135">
                  <c:v>1.2912482065E-2</c:v>
                </c:pt>
                <c:pt idx="136">
                  <c:v>1.3475238176E-2</c:v>
                </c:pt>
                <c:pt idx="137">
                  <c:v>1.310844257E-2</c:v>
                </c:pt>
                <c:pt idx="138">
                  <c:v>1.3015184381E-2</c:v>
                </c:pt>
                <c:pt idx="139">
                  <c:v>1.3589921634E-2</c:v>
                </c:pt>
                <c:pt idx="140">
                  <c:v>1.4611398963E-2</c:v>
                </c:pt>
                <c:pt idx="141">
                  <c:v>1.5772179627000001E-2</c:v>
                </c:pt>
                <c:pt idx="142">
                  <c:v>1.4295287021999999E-2</c:v>
                </c:pt>
                <c:pt idx="143">
                  <c:v>1.4547973675000001E-2</c:v>
                </c:pt>
                <c:pt idx="144">
                  <c:v>1.5006498877E-2</c:v>
                </c:pt>
                <c:pt idx="145">
                  <c:v>1.5175050782E-2</c:v>
                </c:pt>
                <c:pt idx="146">
                  <c:v>1.4878432321E-2</c:v>
                </c:pt>
                <c:pt idx="147">
                  <c:v>1.521523998E-2</c:v>
                </c:pt>
                <c:pt idx="148">
                  <c:v>1.3676488872000001E-2</c:v>
                </c:pt>
                <c:pt idx="149">
                  <c:v>1.3926883859000001E-2</c:v>
                </c:pt>
                <c:pt idx="150">
                  <c:v>1.4689122451E-2</c:v>
                </c:pt>
                <c:pt idx="151">
                  <c:v>1.4799693799000001E-2</c:v>
                </c:pt>
                <c:pt idx="152">
                  <c:v>1.4732029464000001E-2</c:v>
                </c:pt>
                <c:pt idx="153">
                  <c:v>1.5433673469E-2</c:v>
                </c:pt>
                <c:pt idx="154">
                  <c:v>1.4105985511999999E-2</c:v>
                </c:pt>
                <c:pt idx="155">
                  <c:v>1.5022278803E-2</c:v>
                </c:pt>
                <c:pt idx="156">
                  <c:v>1.5915457091E-2</c:v>
                </c:pt>
                <c:pt idx="157">
                  <c:v>1.5126685995E-2</c:v>
                </c:pt>
                <c:pt idx="158">
                  <c:v>1.5176016917000001E-2</c:v>
                </c:pt>
                <c:pt idx="159">
                  <c:v>1.5053495894000001E-2</c:v>
                </c:pt>
                <c:pt idx="160">
                  <c:v>1.458019105E-2</c:v>
                </c:pt>
                <c:pt idx="161">
                  <c:v>1.6791979948999999E-2</c:v>
                </c:pt>
                <c:pt idx="162">
                  <c:v>1.7652250660999999E-2</c:v>
                </c:pt>
                <c:pt idx="163">
                  <c:v>1.7019146539E-2</c:v>
                </c:pt>
                <c:pt idx="164">
                  <c:v>1.6567598329999999E-2</c:v>
                </c:pt>
                <c:pt idx="165">
                  <c:v>1.5515706472999999E-2</c:v>
                </c:pt>
                <c:pt idx="166">
                  <c:v>1.6514227642000001E-2</c:v>
                </c:pt>
                <c:pt idx="167">
                  <c:v>1.5399900645000001E-2</c:v>
                </c:pt>
                <c:pt idx="168">
                  <c:v>1.4135122183999999E-2</c:v>
                </c:pt>
                <c:pt idx="169">
                  <c:v>1.4955489614000001E-2</c:v>
                </c:pt>
                <c:pt idx="170">
                  <c:v>1.5398865346000001E-2</c:v>
                </c:pt>
                <c:pt idx="171">
                  <c:v>1.4624418346E-2</c:v>
                </c:pt>
                <c:pt idx="172">
                  <c:v>1.5795737314E-2</c:v>
                </c:pt>
                <c:pt idx="173">
                  <c:v>1.6437186465999998E-2</c:v>
                </c:pt>
                <c:pt idx="174">
                  <c:v>1.6908959686000001E-2</c:v>
                </c:pt>
                <c:pt idx="175">
                  <c:v>1.5824044584999999E-2</c:v>
                </c:pt>
                <c:pt idx="176">
                  <c:v>1.4554794520000001E-2</c:v>
                </c:pt>
                <c:pt idx="177">
                  <c:v>1.4378606099E-2</c:v>
                </c:pt>
                <c:pt idx="178">
                  <c:v>1.38101983E-2</c:v>
                </c:pt>
                <c:pt idx="179">
                  <c:v>1.2890213960000001E-2</c:v>
                </c:pt>
                <c:pt idx="180">
                  <c:v>1.2372571229E-2</c:v>
                </c:pt>
                <c:pt idx="181">
                  <c:v>1.2482900135999999E-2</c:v>
                </c:pt>
                <c:pt idx="182">
                  <c:v>1.3095337392E-2</c:v>
                </c:pt>
                <c:pt idx="183">
                  <c:v>1.2510220767999999E-2</c:v>
                </c:pt>
                <c:pt idx="184">
                  <c:v>1.1889250814E-2</c:v>
                </c:pt>
                <c:pt idx="185">
                  <c:v>1.2683412086E-2</c:v>
                </c:pt>
                <c:pt idx="186">
                  <c:v>1.2739370333999999E-2</c:v>
                </c:pt>
                <c:pt idx="187">
                  <c:v>1.2020792722E-2</c:v>
                </c:pt>
                <c:pt idx="188">
                  <c:v>1.2995668110000001E-2</c:v>
                </c:pt>
                <c:pt idx="189">
                  <c:v>1.2169860176E-2</c:v>
                </c:pt>
                <c:pt idx="190">
                  <c:v>1.2500000000000001E-2</c:v>
                </c:pt>
                <c:pt idx="191">
                  <c:v>1.3349073737E-2</c:v>
                </c:pt>
                <c:pt idx="192">
                  <c:v>1.4054813773E-2</c:v>
                </c:pt>
                <c:pt idx="193">
                  <c:v>1.4006867883E-2</c:v>
                </c:pt>
                <c:pt idx="194">
                  <c:v>1.4593214154999999E-2</c:v>
                </c:pt>
                <c:pt idx="195">
                  <c:v>1.3579576317E-2</c:v>
                </c:pt>
                <c:pt idx="196">
                  <c:v>1.3318934485E-2</c:v>
                </c:pt>
                <c:pt idx="197">
                  <c:v>1.3325981067E-2</c:v>
                </c:pt>
                <c:pt idx="198">
                  <c:v>1.2361623616E-2</c:v>
                </c:pt>
                <c:pt idx="199">
                  <c:v>1.1873877469E-2</c:v>
                </c:pt>
                <c:pt idx="200">
                  <c:v>1.2050632911E-2</c:v>
                </c:pt>
                <c:pt idx="201">
                  <c:v>1.1460145297999999E-2</c:v>
                </c:pt>
                <c:pt idx="202">
                  <c:v>1.1969648390999999E-2</c:v>
                </c:pt>
                <c:pt idx="203">
                  <c:v>1.3775338783E-2</c:v>
                </c:pt>
                <c:pt idx="204">
                  <c:v>1.3946342039E-2</c:v>
                </c:pt>
                <c:pt idx="205">
                  <c:v>1.5194216395E-2</c:v>
                </c:pt>
                <c:pt idx="206">
                  <c:v>1.5549936788000001E-2</c:v>
                </c:pt>
                <c:pt idx="207">
                  <c:v>1.5837985200000002E-2</c:v>
                </c:pt>
                <c:pt idx="208">
                  <c:v>1.6339438660999999E-2</c:v>
                </c:pt>
                <c:pt idx="209">
                  <c:v>1.6275346850999999E-2</c:v>
                </c:pt>
                <c:pt idx="210">
                  <c:v>1.5066964285E-2</c:v>
                </c:pt>
                <c:pt idx="211">
                  <c:v>1.4914772727E-2</c:v>
                </c:pt>
                <c:pt idx="212">
                  <c:v>1.5131286159E-2</c:v>
                </c:pt>
                <c:pt idx="213">
                  <c:v>1.5709376534000001E-2</c:v>
                </c:pt>
                <c:pt idx="214">
                  <c:v>1.6418676244000001E-2</c:v>
                </c:pt>
                <c:pt idx="215">
                  <c:v>1.6073871409000001E-2</c:v>
                </c:pt>
                <c:pt idx="216">
                  <c:v>1.4931315945999999E-2</c:v>
                </c:pt>
                <c:pt idx="217">
                  <c:v>1.7829627999000001E-2</c:v>
                </c:pt>
                <c:pt idx="218">
                  <c:v>1.9856845993E-2</c:v>
                </c:pt>
                <c:pt idx="219">
                  <c:v>2.1343681784999999E-2</c:v>
                </c:pt>
                <c:pt idx="220">
                  <c:v>2.0755597014E-2</c:v>
                </c:pt>
                <c:pt idx="221">
                  <c:v>2.1983161833E-2</c:v>
                </c:pt>
                <c:pt idx="222">
                  <c:v>2.3121387282999999E-2</c:v>
                </c:pt>
                <c:pt idx="223">
                  <c:v>2.4555079971999998E-2</c:v>
                </c:pt>
                <c:pt idx="224">
                  <c:v>2.3174971031E-2</c:v>
                </c:pt>
                <c:pt idx="225">
                  <c:v>2.4010217112999999E-2</c:v>
                </c:pt>
                <c:pt idx="226">
                  <c:v>2.3584905659999999E-2</c:v>
                </c:pt>
                <c:pt idx="227">
                  <c:v>2.3809523809000002E-2</c:v>
                </c:pt>
                <c:pt idx="228">
                  <c:v>2.25472273E-2</c:v>
                </c:pt>
                <c:pt idx="229">
                  <c:v>2.1098355568999999E-2</c:v>
                </c:pt>
                <c:pt idx="230">
                  <c:v>2.0880179889999999E-2</c:v>
                </c:pt>
                <c:pt idx="231">
                  <c:v>2.2321428571000002E-2</c:v>
                </c:pt>
                <c:pt idx="232">
                  <c:v>2.1873860735999999E-2</c:v>
                </c:pt>
                <c:pt idx="233">
                  <c:v>2.2438294689E-2</c:v>
                </c:pt>
                <c:pt idx="234">
                  <c:v>2.5230276331000001E-2</c:v>
                </c:pt>
                <c:pt idx="235">
                  <c:v>2.5736820257000002E-2</c:v>
                </c:pt>
                <c:pt idx="236">
                  <c:v>2.6415094338999998E-2</c:v>
                </c:pt>
                <c:pt idx="237">
                  <c:v>2.5360734586000001E-2</c:v>
                </c:pt>
                <c:pt idx="238">
                  <c:v>2.3831347387000001E-2</c:v>
                </c:pt>
                <c:pt idx="239">
                  <c:v>2.6178010471000001E-2</c:v>
                </c:pt>
                <c:pt idx="240">
                  <c:v>2.6473526473000001E-2</c:v>
                </c:pt>
                <c:pt idx="241">
                  <c:v>2.2854240731000001E-2</c:v>
                </c:pt>
                <c:pt idx="242">
                  <c:v>1.9657258064E-2</c:v>
                </c:pt>
                <c:pt idx="243">
                  <c:v>1.8461538461000002E-2</c:v>
                </c:pt>
                <c:pt idx="244">
                  <c:v>1.5441959531000001E-2</c:v>
                </c:pt>
                <c:pt idx="245">
                  <c:v>2.05213533E-2</c:v>
                </c:pt>
                <c:pt idx="246">
                  <c:v>1.9733023794999999E-2</c:v>
                </c:pt>
                <c:pt idx="247">
                  <c:v>1.8856447687999999E-2</c:v>
                </c:pt>
                <c:pt idx="248">
                  <c:v>2.2353714661000001E-2</c:v>
                </c:pt>
                <c:pt idx="249">
                  <c:v>2.6388888887999999E-2</c:v>
                </c:pt>
                <c:pt idx="250">
                  <c:v>2.6988636363000001E-2</c:v>
                </c:pt>
                <c:pt idx="251">
                  <c:v>3.0234315947999999E-2</c:v>
                </c:pt>
                <c:pt idx="252">
                  <c:v>2.8404344192999999E-2</c:v>
                </c:pt>
                <c:pt idx="253">
                  <c:v>3.1510658015999997E-2</c:v>
                </c:pt>
                <c:pt idx="254">
                  <c:v>3.1651829871000001E-2</c:v>
                </c:pt>
                <c:pt idx="255">
                  <c:v>2.9075804776000001E-2</c:v>
                </c:pt>
                <c:pt idx="256">
                  <c:v>2.7600849255999999E-2</c:v>
                </c:pt>
                <c:pt idx="257">
                  <c:v>2.5081788439999999E-2</c:v>
                </c:pt>
                <c:pt idx="258">
                  <c:v>2.0656136087E-2</c:v>
                </c:pt>
                <c:pt idx="259">
                  <c:v>1.9255455711999998E-2</c:v>
                </c:pt>
                <c:pt idx="260">
                  <c:v>1.7615176151E-2</c:v>
                </c:pt>
                <c:pt idx="261">
                  <c:v>1.6320474777000001E-2</c:v>
                </c:pt>
                <c:pt idx="262">
                  <c:v>1.7799352750000001E-2</c:v>
                </c:pt>
                <c:pt idx="263">
                  <c:v>1.7241379309999999E-2</c:v>
                </c:pt>
                <c:pt idx="264">
                  <c:v>1.9264448335999999E-2</c:v>
                </c:pt>
                <c:pt idx="265">
                  <c:v>2.1235521234999999E-2</c:v>
                </c:pt>
                <c:pt idx="266">
                  <c:v>1.9693654266000001E-2</c:v>
                </c:pt>
                <c:pt idx="267">
                  <c:v>2.3584905659999999E-2</c:v>
                </c:pt>
                <c:pt idx="268">
                  <c:v>2.3622047244000001E-2</c:v>
                </c:pt>
                <c:pt idx="269">
                  <c:v>1.9178082191E-2</c:v>
                </c:pt>
                <c:pt idx="270">
                  <c:v>1.9886363636E-2</c:v>
                </c:pt>
                <c:pt idx="271">
                  <c:v>2.0348837208999999E-2</c:v>
                </c:pt>
                <c:pt idx="272">
                  <c:v>3.0581039755000001E-2</c:v>
                </c:pt>
                <c:pt idx="273">
                  <c:v>3.4482758619999998E-2</c:v>
                </c:pt>
                <c:pt idx="274">
                  <c:v>2.6515151515000002E-2</c:v>
                </c:pt>
                <c:pt idx="275">
                  <c:v>3.4615384615000001E-2</c:v>
                </c:pt>
                <c:pt idx="276">
                  <c:v>4.3290043290000003E-2</c:v>
                </c:pt>
                <c:pt idx="277">
                  <c:v>4.0723981899999998E-2</c:v>
                </c:pt>
                <c:pt idx="278">
                  <c:v>3.7558685446000002E-2</c:v>
                </c:pt>
                <c:pt idx="279">
                  <c:v>2.0942408376000001E-2</c:v>
                </c:pt>
                <c:pt idx="280">
                  <c:v>2.3255813952999999E-2</c:v>
                </c:pt>
                <c:pt idx="281">
                  <c:v>1.8749999999999999E-2</c:v>
                </c:pt>
                <c:pt idx="282">
                  <c:v>1.4388489208E-2</c:v>
                </c:pt>
                <c:pt idx="283">
                  <c:v>8.5470085469999992E-3</c:v>
                </c:pt>
                <c:pt idx="284">
                  <c:v>9.1743119259999999E-3</c:v>
                </c:pt>
                <c:pt idx="285">
                  <c:v>8.8495575219999997E-3</c:v>
                </c:pt>
                <c:pt idx="286">
                  <c:v>1.9801980197999999E-2</c:v>
                </c:pt>
                <c:pt idx="287">
                  <c:v>2.1052631578000001E-2</c:v>
                </c:pt>
                <c:pt idx="288">
                  <c:v>2.1052631578000001E-2</c:v>
                </c:pt>
                <c:pt idx="289">
                  <c:v>1.2345679012E-2</c:v>
                </c:pt>
                <c:pt idx="290">
                  <c:v>3.3707865167999999E-2</c:v>
                </c:pt>
                <c:pt idx="291">
                  <c:v>3.2608695652000003E-2</c:v>
                </c:pt>
                <c:pt idx="292">
                  <c:v>4.5454545454000003E-2</c:v>
                </c:pt>
                <c:pt idx="293">
                  <c:v>3.5714285714000003E-2</c:v>
                </c:pt>
                <c:pt idx="294">
                  <c:v>3.6144578312999998E-2</c:v>
                </c:pt>
                <c:pt idx="295">
                  <c:v>4.3478260869000002E-2</c:v>
                </c:pt>
                <c:pt idx="296">
                  <c:v>4.7619047619000002E-2</c:v>
                </c:pt>
                <c:pt idx="297">
                  <c:v>2.0408163265000001E-2</c:v>
                </c:pt>
                <c:pt idx="298">
                  <c:v>2.0408163265000001E-2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2.9411764704999999E-2</c:v>
                </c:pt>
                <c:pt idx="310">
                  <c:v>2.7777777776999999E-2</c:v>
                </c:pt>
                <c:pt idx="311">
                  <c:v>2.5641025641000001E-2</c:v>
                </c:pt>
                <c:pt idx="312">
                  <c:v>2.6315789472999999E-2</c:v>
                </c:pt>
                <c:pt idx="313">
                  <c:v>2.8571428571E-2</c:v>
                </c:pt>
                <c:pt idx="314">
                  <c:v>3.5714285714000003E-2</c:v>
                </c:pt>
                <c:pt idx="315">
                  <c:v>2.9411764704999999E-2</c:v>
                </c:pt>
                <c:pt idx="316">
                  <c:v>1.4705882352E-2</c:v>
                </c:pt>
                <c:pt idx="317">
                  <c:v>1.5151515151E-2</c:v>
                </c:pt>
                <c:pt idx="318">
                  <c:v>1.4492753622999999E-2</c:v>
                </c:pt>
                <c:pt idx="319">
                  <c:v>1.3698630135999999E-2</c:v>
                </c:pt>
                <c:pt idx="320">
                  <c:v>2.7027027027000002E-2</c:v>
                </c:pt>
                <c:pt idx="321">
                  <c:v>3.3333333333000002E-2</c:v>
                </c:pt>
                <c:pt idx="322">
                  <c:v>3.5714285714000003E-2</c:v>
                </c:pt>
                <c:pt idx="323">
                  <c:v>3.7037037037000002E-2</c:v>
                </c:pt>
                <c:pt idx="324">
                  <c:v>3.7037037037000002E-2</c:v>
                </c:pt>
                <c:pt idx="325">
                  <c:v>5.5555555554999997E-2</c:v>
                </c:pt>
                <c:pt idx="326">
                  <c:v>5.8823529410999997E-2</c:v>
                </c:pt>
                <c:pt idx="327">
                  <c:v>4.1666666666000003E-2</c:v>
                </c:pt>
                <c:pt idx="328">
                  <c:v>3.5714285714000003E-2</c:v>
                </c:pt>
                <c:pt idx="329">
                  <c:v>3.5714285714000003E-2</c:v>
                </c:pt>
                <c:pt idx="330">
                  <c:v>3.7735849055999998E-2</c:v>
                </c:pt>
                <c:pt idx="331">
                  <c:v>0.05</c:v>
                </c:pt>
                <c:pt idx="332">
                  <c:v>5.4545454544999997E-2</c:v>
                </c:pt>
                <c:pt idx="333">
                  <c:v>7.5471698113000002E-2</c:v>
                </c:pt>
                <c:pt idx="334">
                  <c:v>7.2727272726999997E-2</c:v>
                </c:pt>
                <c:pt idx="335">
                  <c:v>5.8823529410999997E-2</c:v>
                </c:pt>
                <c:pt idx="336">
                  <c:v>5.7692307691999997E-2</c:v>
                </c:pt>
                <c:pt idx="337">
                  <c:v>7.5471698113000002E-2</c:v>
                </c:pt>
                <c:pt idx="338">
                  <c:v>6.5217391304000005E-2</c:v>
                </c:pt>
                <c:pt idx="339">
                  <c:v>5.6603773583999997E-2</c:v>
                </c:pt>
                <c:pt idx="340">
                  <c:v>3.7735849055999998E-2</c:v>
                </c:pt>
                <c:pt idx="341">
                  <c:v>3.7735849055999998E-2</c:v>
                </c:pt>
                <c:pt idx="342">
                  <c:v>3.7735849055999998E-2</c:v>
                </c:pt>
                <c:pt idx="343">
                  <c:v>3.8461538460999999E-2</c:v>
                </c:pt>
                <c:pt idx="344">
                  <c:v>3.5087719298000003E-2</c:v>
                </c:pt>
                <c:pt idx="345">
                  <c:v>3.4482758619999998E-2</c:v>
                </c:pt>
                <c:pt idx="346">
                  <c:v>1.7857142857000002E-2</c:v>
                </c:pt>
                <c:pt idx="347">
                  <c:v>1.7543859649000001E-2</c:v>
                </c:pt>
                <c:pt idx="348">
                  <c:v>3.3898305083999998E-2</c:v>
                </c:pt>
                <c:pt idx="349">
                  <c:v>3.3898305083999998E-2</c:v>
                </c:pt>
                <c:pt idx="350">
                  <c:v>2.9411764704999999E-2</c:v>
                </c:pt>
                <c:pt idx="351">
                  <c:v>1.4705882352E-2</c:v>
                </c:pt>
                <c:pt idx="352">
                  <c:v>1.5625E-2</c:v>
                </c:pt>
                <c:pt idx="353">
                  <c:v>6.3492063491999998E-2</c:v>
                </c:pt>
                <c:pt idx="354">
                  <c:v>7.4626865671000006E-2</c:v>
                </c:pt>
                <c:pt idx="355">
                  <c:v>5.9701492537000002E-2</c:v>
                </c:pt>
                <c:pt idx="356">
                  <c:v>7.5757575756999998E-2</c:v>
                </c:pt>
                <c:pt idx="357">
                  <c:v>8.8235294116999999E-2</c:v>
                </c:pt>
                <c:pt idx="358">
                  <c:v>9.4594594594000006E-2</c:v>
                </c:pt>
                <c:pt idx="359">
                  <c:v>8.6419753086000001E-2</c:v>
                </c:pt>
                <c:pt idx="360">
                  <c:v>4.8780487804000003E-2</c:v>
                </c:pt>
                <c:pt idx="361">
                  <c:v>3.7037037037000002E-2</c:v>
                </c:pt>
                <c:pt idx="362">
                  <c:v>3.7974683544E-2</c:v>
                </c:pt>
                <c:pt idx="363">
                  <c:v>2.5000000000000001E-2</c:v>
                </c:pt>
                <c:pt idx="364">
                  <c:v>1.3157894736E-2</c:v>
                </c:pt>
                <c:pt idx="365">
                  <c:v>1.2048192770999999E-2</c:v>
                </c:pt>
                <c:pt idx="366">
                  <c:v>1.1111111111000001E-2</c:v>
                </c:pt>
                <c:pt idx="367">
                  <c:v>3.6036036036000002E-2</c:v>
                </c:pt>
                <c:pt idx="368">
                  <c:v>3.3898305083999998E-2</c:v>
                </c:pt>
                <c:pt idx="369">
                  <c:v>0.04</c:v>
                </c:pt>
                <c:pt idx="370">
                  <c:v>3.5714285714000003E-2</c:v>
                </c:pt>
                <c:pt idx="371">
                  <c:v>3.7267080745E-2</c:v>
                </c:pt>
                <c:pt idx="372">
                  <c:v>3.125E-2</c:v>
                </c:pt>
                <c:pt idx="373">
                  <c:v>3.0120481926999999E-2</c:v>
                </c:pt>
                <c:pt idx="374">
                  <c:v>1.7647058823000002E-2</c:v>
                </c:pt>
                <c:pt idx="375">
                  <c:v>1.7857142857000002E-2</c:v>
                </c:pt>
                <c:pt idx="376">
                  <c:v>1.2121212120999999E-2</c:v>
                </c:pt>
                <c:pt idx="377">
                  <c:v>3.3333333333000002E-2</c:v>
                </c:pt>
                <c:pt idx="378">
                  <c:v>3.0927835051E-2</c:v>
                </c:pt>
                <c:pt idx="379">
                  <c:v>3.0150753767999999E-2</c:v>
                </c:pt>
                <c:pt idx="380">
                  <c:v>2.8571428571E-2</c:v>
                </c:pt>
                <c:pt idx="381">
                  <c:v>2.6785714285000001E-2</c:v>
                </c:pt>
                <c:pt idx="382">
                  <c:v>2.6431718061E-2</c:v>
                </c:pt>
                <c:pt idx="383">
                  <c:v>2.9411764704999999E-2</c:v>
                </c:pt>
                <c:pt idx="384">
                  <c:v>1.2820512819999999E-2</c:v>
                </c:pt>
                <c:pt idx="385">
                  <c:v>8.7719298239999997E-3</c:v>
                </c:pt>
                <c:pt idx="386">
                  <c:v>8.3682008359999994E-3</c:v>
                </c:pt>
                <c:pt idx="387">
                  <c:v>1.304347826E-2</c:v>
                </c:pt>
                <c:pt idx="388">
                  <c:v>9.0090090090000005E-3</c:v>
                </c:pt>
                <c:pt idx="389">
                  <c:v>1.2658227847999999E-2</c:v>
                </c:pt>
                <c:pt idx="390">
                  <c:v>1.2605042016E-2</c:v>
                </c:pt>
                <c:pt idx="391">
                  <c:v>1.9455252918000002E-2</c:v>
                </c:pt>
                <c:pt idx="392">
                  <c:v>2.5000000000000001E-2</c:v>
                </c:pt>
                <c:pt idx="393">
                  <c:v>3.1872509960000003E-2</c:v>
                </c:pt>
                <c:pt idx="394">
                  <c:v>2.6755852842000001E-2</c:v>
                </c:pt>
                <c:pt idx="395">
                  <c:v>3.2163742689999997E-2</c:v>
                </c:pt>
                <c:pt idx="396">
                  <c:v>2.7624309392000002E-2</c:v>
                </c:pt>
                <c:pt idx="397">
                  <c:v>2.9490616620999999E-2</c:v>
                </c:pt>
                <c:pt idx="398">
                  <c:v>3.1088082901E-2</c:v>
                </c:pt>
                <c:pt idx="399">
                  <c:v>3.6170212765000001E-2</c:v>
                </c:pt>
                <c:pt idx="400">
                  <c:v>3.9399624765000002E-2</c:v>
                </c:pt>
                <c:pt idx="401">
                  <c:v>4.2933810374999999E-2</c:v>
                </c:pt>
                <c:pt idx="402">
                  <c:v>3.8128249566E-2</c:v>
                </c:pt>
                <c:pt idx="403">
                  <c:v>3.9076376554000002E-2</c:v>
                </c:pt>
                <c:pt idx="404">
                  <c:v>3.7634408602E-2</c:v>
                </c:pt>
                <c:pt idx="405">
                  <c:v>4.3551088777000001E-2</c:v>
                </c:pt>
                <c:pt idx="406">
                  <c:v>3.6605657237000003E-2</c:v>
                </c:pt>
                <c:pt idx="407">
                  <c:v>3.2362459545999998E-2</c:v>
                </c:pt>
                <c:pt idx="408">
                  <c:v>3.4591194967999998E-2</c:v>
                </c:pt>
                <c:pt idx="409">
                  <c:v>3.3379694018999997E-2</c:v>
                </c:pt>
                <c:pt idx="410">
                  <c:v>3.2133676091999998E-2</c:v>
                </c:pt>
                <c:pt idx="411">
                  <c:v>2.9629629628999999E-2</c:v>
                </c:pt>
                <c:pt idx="412">
                  <c:v>2.1436227224000001E-2</c:v>
                </c:pt>
                <c:pt idx="413">
                  <c:v>1.7040358743999999E-2</c:v>
                </c:pt>
                <c:pt idx="414">
                  <c:v>1.5810276679E-2</c:v>
                </c:pt>
                <c:pt idx="415">
                  <c:v>1.0416666666E-2</c:v>
                </c:pt>
                <c:pt idx="416">
                  <c:v>8.5522296880000005E-3</c:v>
                </c:pt>
                <c:pt idx="417">
                  <c:v>9.1220068410000008E-3</c:v>
                </c:pt>
                <c:pt idx="418">
                  <c:v>1.1345218799999999E-2</c:v>
                </c:pt>
                <c:pt idx="419">
                  <c:v>1.5625E-2</c:v>
                </c:pt>
                <c:pt idx="420">
                  <c:v>1.4187446259E-2</c:v>
                </c:pt>
                <c:pt idx="421">
                  <c:v>1.257367387E-2</c:v>
                </c:pt>
                <c:pt idx="422">
                  <c:v>1.3302034428000001E-2</c:v>
                </c:pt>
                <c:pt idx="423">
                  <c:v>1.4295925661000001E-2</c:v>
                </c:pt>
                <c:pt idx="424">
                  <c:v>1.336005344E-2</c:v>
                </c:pt>
                <c:pt idx="425">
                  <c:v>1.2472017908E-2</c:v>
                </c:pt>
                <c:pt idx="426">
                  <c:v>1.0933557611000001E-2</c:v>
                </c:pt>
                <c:pt idx="427">
                  <c:v>1.3319672131E-2</c:v>
                </c:pt>
                <c:pt idx="428">
                  <c:v>1.3145965548E-2</c:v>
                </c:pt>
                <c:pt idx="429">
                  <c:v>1.2563800549E-2</c:v>
                </c:pt>
                <c:pt idx="430">
                  <c:v>1.3071895424E-2</c:v>
                </c:pt>
                <c:pt idx="431">
                  <c:v>1.4487632508E-2</c:v>
                </c:pt>
                <c:pt idx="432">
                  <c:v>1.5273876404000001E-2</c:v>
                </c:pt>
                <c:pt idx="433">
                  <c:v>1.457380105E-2</c:v>
                </c:pt>
                <c:pt idx="434">
                  <c:v>1.4042284632E-2</c:v>
                </c:pt>
                <c:pt idx="435">
                  <c:v>1.4855237229E-2</c:v>
                </c:pt>
                <c:pt idx="436">
                  <c:v>1.5210259469000001E-2</c:v>
                </c:pt>
                <c:pt idx="437">
                  <c:v>1.3483146067000001E-2</c:v>
                </c:pt>
                <c:pt idx="438">
                  <c:v>1.2689316414E-2</c:v>
                </c:pt>
                <c:pt idx="439">
                  <c:v>1.2012813666999999E-2</c:v>
                </c:pt>
                <c:pt idx="440">
                  <c:v>1.1959876543E-2</c:v>
                </c:pt>
                <c:pt idx="441">
                  <c:v>1.0911736178E-2</c:v>
                </c:pt>
                <c:pt idx="442">
                  <c:v>1.0441267868000001E-2</c:v>
                </c:pt>
                <c:pt idx="443">
                  <c:v>1.1825751176E-2</c:v>
                </c:pt>
                <c:pt idx="444">
                  <c:v>1.1501880115E-2</c:v>
                </c:pt>
                <c:pt idx="445">
                  <c:v>1.1126417293000001E-2</c:v>
                </c:pt>
                <c:pt idx="446">
                  <c:v>1.282719783E-2</c:v>
                </c:pt>
                <c:pt idx="447">
                  <c:v>1.4241803278000001E-2</c:v>
                </c:pt>
                <c:pt idx="448">
                  <c:v>1.4866901054000001E-2</c:v>
                </c:pt>
                <c:pt idx="449">
                  <c:v>1.3604794975999999E-2</c:v>
                </c:pt>
                <c:pt idx="450">
                  <c:v>1.2371134020000001E-2</c:v>
                </c:pt>
                <c:pt idx="451">
                  <c:v>1.3001844856E-2</c:v>
                </c:pt>
                <c:pt idx="452">
                  <c:v>1.3182177695E-2</c:v>
                </c:pt>
                <c:pt idx="453">
                  <c:v>1.1824615915E-2</c:v>
                </c:pt>
                <c:pt idx="454">
                  <c:v>1.0543321146E-2</c:v>
                </c:pt>
                <c:pt idx="455">
                  <c:v>1.0163652024E-2</c:v>
                </c:pt>
                <c:pt idx="456">
                  <c:v>1.0915197313000001E-2</c:v>
                </c:pt>
                <c:pt idx="457">
                  <c:v>1.0777385158999999E-2</c:v>
                </c:pt>
                <c:pt idx="458">
                  <c:v>9.7217267209999993E-3</c:v>
                </c:pt>
                <c:pt idx="459">
                  <c:v>1.0190278654000001E-2</c:v>
                </c:pt>
                <c:pt idx="460">
                  <c:v>1.0031580902000001E-2</c:v>
                </c:pt>
                <c:pt idx="461">
                  <c:v>1.0739519547E-2</c:v>
                </c:pt>
                <c:pt idx="462">
                  <c:v>1.0326034992999999E-2</c:v>
                </c:pt>
                <c:pt idx="463">
                  <c:v>9.7619284780000003E-3</c:v>
                </c:pt>
                <c:pt idx="464">
                  <c:v>9.6927201479999996E-3</c:v>
                </c:pt>
                <c:pt idx="465">
                  <c:v>1.053660656E-2</c:v>
                </c:pt>
                <c:pt idx="466">
                  <c:v>1.0180109631E-2</c:v>
                </c:pt>
                <c:pt idx="467">
                  <c:v>1.0770975056E-2</c:v>
                </c:pt>
                <c:pt idx="468">
                  <c:v>9.9396521119999998E-3</c:v>
                </c:pt>
                <c:pt idx="469">
                  <c:v>1.1352539062000001E-2</c:v>
                </c:pt>
                <c:pt idx="470">
                  <c:v>1.2298232128999999E-2</c:v>
                </c:pt>
                <c:pt idx="471">
                  <c:v>1.3166918118E-2</c:v>
                </c:pt>
                <c:pt idx="472">
                  <c:v>1.3588544710000001E-2</c:v>
                </c:pt>
                <c:pt idx="473">
                  <c:v>1.3221884498E-2</c:v>
                </c:pt>
                <c:pt idx="474">
                  <c:v>1.2820512819999999E-2</c:v>
                </c:pt>
                <c:pt idx="475">
                  <c:v>1.4204081632E-2</c:v>
                </c:pt>
                <c:pt idx="476">
                  <c:v>1.4208033678E-2</c:v>
                </c:pt>
                <c:pt idx="477">
                  <c:v>1.4259259259E-2</c:v>
                </c:pt>
                <c:pt idx="478">
                  <c:v>1.491646778E-2</c:v>
                </c:pt>
                <c:pt idx="479">
                  <c:v>1.7064048620000001E-2</c:v>
                </c:pt>
                <c:pt idx="480">
                  <c:v>1.8404907974999999E-2</c:v>
                </c:pt>
                <c:pt idx="481">
                  <c:v>1.9195372073999999E-2</c:v>
                </c:pt>
                <c:pt idx="482">
                  <c:v>1.9130910083999999E-2</c:v>
                </c:pt>
                <c:pt idx="483">
                  <c:v>2.2567409144E-2</c:v>
                </c:pt>
                <c:pt idx="484">
                  <c:v>2.4915410642000001E-2</c:v>
                </c:pt>
                <c:pt idx="485">
                  <c:v>2.4223602484E-2</c:v>
                </c:pt>
                <c:pt idx="486">
                  <c:v>2.2054718034000002E-2</c:v>
                </c:pt>
                <c:pt idx="487">
                  <c:v>2.3776223775999999E-2</c:v>
                </c:pt>
                <c:pt idx="488">
                  <c:v>2.4315259921000001E-2</c:v>
                </c:pt>
                <c:pt idx="489">
                  <c:v>2.0833333333000002E-2</c:v>
                </c:pt>
                <c:pt idx="490">
                  <c:v>1.6393442622000001E-2</c:v>
                </c:pt>
                <c:pt idx="491">
                  <c:v>1.4705882352E-2</c:v>
                </c:pt>
                <c:pt idx="492">
                  <c:v>1.3358778625E-2</c:v>
                </c:pt>
                <c:pt idx="493">
                  <c:v>1.4717906786000001E-2</c:v>
                </c:pt>
                <c:pt idx="494">
                  <c:v>1.2847404299E-2</c:v>
                </c:pt>
                <c:pt idx="495">
                  <c:v>1.2361914781000001E-2</c:v>
                </c:pt>
                <c:pt idx="496">
                  <c:v>1.5606595995E-2</c:v>
                </c:pt>
                <c:pt idx="497">
                  <c:v>1.6844833170999999E-2</c:v>
                </c:pt>
                <c:pt idx="498">
                  <c:v>1.7719826144999999E-2</c:v>
                </c:pt>
                <c:pt idx="499">
                  <c:v>1.7912504305E-2</c:v>
                </c:pt>
                <c:pt idx="500">
                  <c:v>1.6780821917000002E-2</c:v>
                </c:pt>
                <c:pt idx="501">
                  <c:v>1.4970059880000001E-2</c:v>
                </c:pt>
                <c:pt idx="502">
                  <c:v>1.3071895424E-2</c:v>
                </c:pt>
                <c:pt idx="503">
                  <c:v>1.0632014176E-2</c:v>
                </c:pt>
                <c:pt idx="504">
                  <c:v>8.6364825960000002E-3</c:v>
                </c:pt>
                <c:pt idx="505">
                  <c:v>7.5984342620000001E-3</c:v>
                </c:pt>
                <c:pt idx="506">
                  <c:v>6.726013847E-3</c:v>
                </c:pt>
                <c:pt idx="507">
                  <c:v>5.9068797770000002E-3</c:v>
                </c:pt>
                <c:pt idx="508">
                  <c:v>6.7752863359999997E-3</c:v>
                </c:pt>
                <c:pt idx="509">
                  <c:v>7.9889383919999994E-3</c:v>
                </c:pt>
                <c:pt idx="510">
                  <c:v>8.2471344700000004E-3</c:v>
                </c:pt>
                <c:pt idx="511">
                  <c:v>7.622919578E-3</c:v>
                </c:pt>
                <c:pt idx="512">
                  <c:v>6.5075921899999997E-3</c:v>
                </c:pt>
                <c:pt idx="513">
                  <c:v>6.4895558709999997E-3</c:v>
                </c:pt>
                <c:pt idx="514">
                  <c:v>5.948681523E-3</c:v>
                </c:pt>
                <c:pt idx="515">
                  <c:v>5.7586598019999996E-3</c:v>
                </c:pt>
                <c:pt idx="516">
                  <c:v>5.2553785509999998E-3</c:v>
                </c:pt>
                <c:pt idx="517">
                  <c:v>5.2054578429999998E-3</c:v>
                </c:pt>
                <c:pt idx="518">
                  <c:v>5.5905963300000002E-3</c:v>
                </c:pt>
                <c:pt idx="519">
                  <c:v>5.8770027279999998E-3</c:v>
                </c:pt>
                <c:pt idx="520">
                  <c:v>6.0878771829999999E-3</c:v>
                </c:pt>
                <c:pt idx="521">
                  <c:v>6.1674008810000003E-3</c:v>
                </c:pt>
                <c:pt idx="522">
                  <c:v>6.4972660010000002E-3</c:v>
                </c:pt>
                <c:pt idx="523">
                  <c:v>6.4366290639999999E-3</c:v>
                </c:pt>
                <c:pt idx="524">
                  <c:v>6.1061833139999999E-3</c:v>
                </c:pt>
                <c:pt idx="525">
                  <c:v>5.7704918029999998E-3</c:v>
                </c:pt>
                <c:pt idx="526">
                  <c:v>6.1630218680000003E-3</c:v>
                </c:pt>
                <c:pt idx="527">
                  <c:v>6.370290051E-3</c:v>
                </c:pt>
                <c:pt idx="528">
                  <c:v>6.8386485199999998E-3</c:v>
                </c:pt>
                <c:pt idx="529">
                  <c:v>6.5331629020000002E-3</c:v>
                </c:pt>
                <c:pt idx="530">
                  <c:v>6.6319617770000004E-3</c:v>
                </c:pt>
                <c:pt idx="531">
                  <c:v>7.3545474400000003E-3</c:v>
                </c:pt>
                <c:pt idx="532">
                  <c:v>7.6622706840000004E-3</c:v>
                </c:pt>
                <c:pt idx="533">
                  <c:v>7.7728182230000003E-3</c:v>
                </c:pt>
                <c:pt idx="534">
                  <c:v>7.5450718760000004E-3</c:v>
                </c:pt>
                <c:pt idx="535">
                  <c:v>7.3640167359999998E-3</c:v>
                </c:pt>
                <c:pt idx="536">
                  <c:v>7.1361821419999999E-3</c:v>
                </c:pt>
                <c:pt idx="537">
                  <c:v>8.2165715269999998E-3</c:v>
                </c:pt>
                <c:pt idx="538">
                  <c:v>7.7298978230000001E-3</c:v>
                </c:pt>
                <c:pt idx="539">
                  <c:v>8.8961163190000008E-3</c:v>
                </c:pt>
                <c:pt idx="540">
                  <c:v>9.8820207720000004E-3</c:v>
                </c:pt>
                <c:pt idx="541">
                  <c:v>1.0855683269000001E-2</c:v>
                </c:pt>
                <c:pt idx="542">
                  <c:v>1.0701676962999999E-2</c:v>
                </c:pt>
                <c:pt idx="543">
                  <c:v>1.0783200908E-2</c:v>
                </c:pt>
                <c:pt idx="544">
                  <c:v>1.0794671566000001E-2</c:v>
                </c:pt>
                <c:pt idx="545">
                  <c:v>1.0547764592999999E-2</c:v>
                </c:pt>
                <c:pt idx="546">
                  <c:v>1.017369727E-2</c:v>
                </c:pt>
                <c:pt idx="547">
                  <c:v>9.1095714650000006E-3</c:v>
                </c:pt>
                <c:pt idx="548">
                  <c:v>8.8046958370000001E-3</c:v>
                </c:pt>
                <c:pt idx="549">
                  <c:v>8.4227686450000002E-3</c:v>
                </c:pt>
                <c:pt idx="550">
                  <c:v>7.4043603450000004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B47-4816-8473-17E3F5392F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PROC_JIP_v_den_pozitivity65_7dni_z_POZ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53</c:f>
              <c:numCache>
                <c:formatCode>m/d/yyyy</c:formatCode>
                <c:ptCount val="55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</c:numCache>
            </c:numRef>
          </c:cat>
          <c:val>
            <c:numRef>
              <c:f>Sheet1!$B$2:$B$553</c:f>
              <c:numCache>
                <c:formatCode>0.0%</c:formatCode>
                <c:ptCount val="55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5.58966565402</c:v>
                </c:pt>
                <c:pt idx="4">
                  <c:v>5.7304347828399997</c:v>
                </c:pt>
                <c:pt idx="5">
                  <c:v>2.98637602197</c:v>
                </c:pt>
                <c:pt idx="6">
                  <c:v>1.0406091370399999</c:v>
                </c:pt>
                <c:pt idx="7">
                  <c:v>0.38769230768000001</c:v>
                </c:pt>
                <c:pt idx="8">
                  <c:v>0.32602739728000002</c:v>
                </c:pt>
                <c:pt idx="9">
                  <c:v>9.5692717590000004E-2</c:v>
                </c:pt>
                <c:pt idx="10">
                  <c:v>-7.5512405500000003E-3</c:v>
                </c:pt>
                <c:pt idx="11">
                  <c:v>-0.32644071945000003</c:v>
                </c:pt>
                <c:pt idx="12">
                  <c:v>-0.33078556260999997</c:v>
                </c:pt>
                <c:pt idx="13">
                  <c:v>-0.23683327742999999</c:v>
                </c:pt>
                <c:pt idx="14">
                  <c:v>0.29791512329999997</c:v>
                </c:pt>
                <c:pt idx="15">
                  <c:v>-7.3748211760000001E-2</c:v>
                </c:pt>
                <c:pt idx="16">
                  <c:v>-0.11572802198</c:v>
                </c:pt>
                <c:pt idx="17">
                  <c:v>4.0980735570000003E-2</c:v>
                </c:pt>
                <c:pt idx="18">
                  <c:v>0.10700586641</c:v>
                </c:pt>
                <c:pt idx="19">
                  <c:v>0.34419840568999999</c:v>
                </c:pt>
                <c:pt idx="20">
                  <c:v>-8.849745329E-2</c:v>
                </c:pt>
                <c:pt idx="21">
                  <c:v>-0.10307612990999999</c:v>
                </c:pt>
                <c:pt idx="22">
                  <c:v>0.23559633027999999</c:v>
                </c:pt>
                <c:pt idx="23">
                  <c:v>0.49676908068999998</c:v>
                </c:pt>
                <c:pt idx="24">
                  <c:v>0.40978131213000002</c:v>
                </c:pt>
                <c:pt idx="25">
                  <c:v>0.30069124425999999</c:v>
                </c:pt>
                <c:pt idx="26">
                  <c:v>0.19442332063000001</c:v>
                </c:pt>
                <c:pt idx="27">
                  <c:v>0.42669172934999999</c:v>
                </c:pt>
                <c:pt idx="28">
                  <c:v>0.14734943149999999</c:v>
                </c:pt>
                <c:pt idx="29">
                  <c:v>-0.10900511001</c:v>
                </c:pt>
                <c:pt idx="30">
                  <c:v>-0.24071813979000001</c:v>
                </c:pt>
                <c:pt idx="31">
                  <c:v>-0.25669957687</c:v>
                </c:pt>
                <c:pt idx="32">
                  <c:v>-0.27700517465000002</c:v>
                </c:pt>
                <c:pt idx="33">
                  <c:v>-0.27766463000000002</c:v>
                </c:pt>
                <c:pt idx="34">
                  <c:v>-0.1084938949</c:v>
                </c:pt>
                <c:pt idx="35">
                  <c:v>-8.2627921600000008E-3</c:v>
                </c:pt>
                <c:pt idx="36">
                  <c:v>0.25109779472999999</c:v>
                </c:pt>
                <c:pt idx="37">
                  <c:v>0.23317872701</c:v>
                </c:pt>
                <c:pt idx="38">
                  <c:v>0.25062355908</c:v>
                </c:pt>
                <c:pt idx="39">
                  <c:v>0.30405574300999999</c:v>
                </c:pt>
                <c:pt idx="40">
                  <c:v>2.5633967949999999E-2</c:v>
                </c:pt>
                <c:pt idx="41">
                  <c:v>-3.7689969599999998E-2</c:v>
                </c:pt>
                <c:pt idx="42">
                  <c:v>-0.19370154374000001</c:v>
                </c:pt>
                <c:pt idx="43">
                  <c:v>-0.26515236416999999</c:v>
                </c:pt>
                <c:pt idx="44">
                  <c:v>-0.23929571368999999</c:v>
                </c:pt>
                <c:pt idx="45">
                  <c:v>-0.28234183595000001</c:v>
                </c:pt>
                <c:pt idx="46">
                  <c:v>-0.38879475843</c:v>
                </c:pt>
                <c:pt idx="47">
                  <c:v>-0.30890418952999998</c:v>
                </c:pt>
                <c:pt idx="48">
                  <c:v>-0.25041379669000002</c:v>
                </c:pt>
                <c:pt idx="49">
                  <c:v>-0.16898046250000001</c:v>
                </c:pt>
                <c:pt idx="50">
                  <c:v>-0.17057491650000001</c:v>
                </c:pt>
                <c:pt idx="51">
                  <c:v>-0.18979180023</c:v>
                </c:pt>
                <c:pt idx="52">
                  <c:v>-0.10000105524</c:v>
                </c:pt>
                <c:pt idx="53">
                  <c:v>-7.1589680099999997E-2</c:v>
                </c:pt>
                <c:pt idx="54">
                  <c:v>-4.8971832040000003E-2</c:v>
                </c:pt>
                <c:pt idx="55">
                  <c:v>3.1620163989999998E-2</c:v>
                </c:pt>
                <c:pt idx="56">
                  <c:v>0.10324489334</c:v>
                </c:pt>
                <c:pt idx="57">
                  <c:v>8.3134411029999994E-2</c:v>
                </c:pt>
                <c:pt idx="58">
                  <c:v>0.1744259635</c:v>
                </c:pt>
                <c:pt idx="59">
                  <c:v>0.11756383958</c:v>
                </c:pt>
                <c:pt idx="60">
                  <c:v>0.11383141566</c:v>
                </c:pt>
                <c:pt idx="61">
                  <c:v>-4.2059309E-4</c:v>
                </c:pt>
                <c:pt idx="62">
                  <c:v>-2.3480052970000002E-2</c:v>
                </c:pt>
                <c:pt idx="63">
                  <c:v>-2.14512494E-2</c:v>
                </c:pt>
                <c:pt idx="64">
                  <c:v>-0.10042846364999999</c:v>
                </c:pt>
                <c:pt idx="65">
                  <c:v>-0.11041779892</c:v>
                </c:pt>
                <c:pt idx="66">
                  <c:v>-0.10938511066000001</c:v>
                </c:pt>
                <c:pt idx="67">
                  <c:v>-8.6097605830000007E-2</c:v>
                </c:pt>
                <c:pt idx="68">
                  <c:v>-8.5774348769999995E-2</c:v>
                </c:pt>
                <c:pt idx="69">
                  <c:v>-0.12697462977999999</c:v>
                </c:pt>
                <c:pt idx="70">
                  <c:v>-8.4596590109999995E-2</c:v>
                </c:pt>
                <c:pt idx="71">
                  <c:v>3.69577554E-2</c:v>
                </c:pt>
                <c:pt idx="72">
                  <c:v>-2.7961070050000002E-2</c:v>
                </c:pt>
                <c:pt idx="73">
                  <c:v>-4.9223513529999999E-2</c:v>
                </c:pt>
                <c:pt idx="74">
                  <c:v>-4.2739744849999997E-2</c:v>
                </c:pt>
                <c:pt idx="75">
                  <c:v>1.8671472790000001E-2</c:v>
                </c:pt>
                <c:pt idx="76">
                  <c:v>-1.785313396E-2</c:v>
                </c:pt>
                <c:pt idx="77">
                  <c:v>-0.12740669715</c:v>
                </c:pt>
                <c:pt idx="78">
                  <c:v>-8.9033907800000006E-2</c:v>
                </c:pt>
                <c:pt idx="79">
                  <c:v>2.5935068629999999E-2</c:v>
                </c:pt>
                <c:pt idx="80">
                  <c:v>4.1082966210000002E-2</c:v>
                </c:pt>
                <c:pt idx="81">
                  <c:v>0.10232168075</c:v>
                </c:pt>
                <c:pt idx="82">
                  <c:v>0.17403945939000001</c:v>
                </c:pt>
                <c:pt idx="83">
                  <c:v>8.4220594580000002E-2</c:v>
                </c:pt>
                <c:pt idx="84">
                  <c:v>7.5498692589999999E-2</c:v>
                </c:pt>
                <c:pt idx="85">
                  <c:v>2.9606633140000001E-2</c:v>
                </c:pt>
                <c:pt idx="86">
                  <c:v>-1.013014892E-2</c:v>
                </c:pt>
                <c:pt idx="87">
                  <c:v>-3.2685403709999998E-2</c:v>
                </c:pt>
                <c:pt idx="88">
                  <c:v>-9.3203571599999993E-2</c:v>
                </c:pt>
                <c:pt idx="89">
                  <c:v>-3.7613782000000002E-3</c:v>
                </c:pt>
                <c:pt idx="90">
                  <c:v>0.16286029141</c:v>
                </c:pt>
                <c:pt idx="91">
                  <c:v>0.12568854568000001</c:v>
                </c:pt>
                <c:pt idx="92">
                  <c:v>0.14915117825999999</c:v>
                </c:pt>
                <c:pt idx="93">
                  <c:v>0.25201224832000002</c:v>
                </c:pt>
                <c:pt idx="94">
                  <c:v>0.38849197687999998</c:v>
                </c:pt>
                <c:pt idx="95">
                  <c:v>0.34540848765999999</c:v>
                </c:pt>
                <c:pt idx="96">
                  <c:v>0.21224804492999999</c:v>
                </c:pt>
                <c:pt idx="97">
                  <c:v>9.6628650179999998E-2</c:v>
                </c:pt>
                <c:pt idx="98">
                  <c:v>0.1492496257</c:v>
                </c:pt>
                <c:pt idx="99">
                  <c:v>-4.5374757779999997E-2</c:v>
                </c:pt>
                <c:pt idx="100">
                  <c:v>-0.15835011326000001</c:v>
                </c:pt>
                <c:pt idx="101">
                  <c:v>-0.25056176838999999</c:v>
                </c:pt>
                <c:pt idx="102">
                  <c:v>-0.23193258169</c:v>
                </c:pt>
                <c:pt idx="103">
                  <c:v>-0.2077553067</c:v>
                </c:pt>
                <c:pt idx="104">
                  <c:v>-0.17990427868</c:v>
                </c:pt>
                <c:pt idx="105">
                  <c:v>-0.19374958741000001</c:v>
                </c:pt>
                <c:pt idx="106">
                  <c:v>-0.1816345056</c:v>
                </c:pt>
                <c:pt idx="107">
                  <c:v>-0.12075346919</c:v>
                </c:pt>
                <c:pt idx="108">
                  <c:v>-0.18481006378000001</c:v>
                </c:pt>
                <c:pt idx="109">
                  <c:v>-0.21132800453</c:v>
                </c:pt>
                <c:pt idx="110">
                  <c:v>-0.28106439512999998</c:v>
                </c:pt>
                <c:pt idx="111">
                  <c:v>-0.29276569887999998</c:v>
                </c:pt>
                <c:pt idx="112">
                  <c:v>-0.28897405720000002</c:v>
                </c:pt>
                <c:pt idx="113">
                  <c:v>-0.20047470374000001</c:v>
                </c:pt>
                <c:pt idx="114">
                  <c:v>-0.19899958746999999</c:v>
                </c:pt>
                <c:pt idx="115">
                  <c:v>1.600493922E-2</c:v>
                </c:pt>
                <c:pt idx="116">
                  <c:v>7.2050938379999999E-2</c:v>
                </c:pt>
                <c:pt idx="117">
                  <c:v>0.35459147530000001</c:v>
                </c:pt>
                <c:pt idx="118">
                  <c:v>0.47779799136000001</c:v>
                </c:pt>
                <c:pt idx="119">
                  <c:v>0.46930923314</c:v>
                </c:pt>
                <c:pt idx="120">
                  <c:v>0.41741974972000001</c:v>
                </c:pt>
                <c:pt idx="121">
                  <c:v>0.14262125905</c:v>
                </c:pt>
                <c:pt idx="122">
                  <c:v>5.9860405530000001E-2</c:v>
                </c:pt>
                <c:pt idx="123">
                  <c:v>-5.5257537109999998E-2</c:v>
                </c:pt>
                <c:pt idx="124">
                  <c:v>-0.15542175441</c:v>
                </c:pt>
                <c:pt idx="125">
                  <c:v>-0.23366741182</c:v>
                </c:pt>
                <c:pt idx="126">
                  <c:v>-0.23043837471</c:v>
                </c:pt>
                <c:pt idx="127">
                  <c:v>-0.19273064837000001</c:v>
                </c:pt>
                <c:pt idx="128">
                  <c:v>-0.21409583533000001</c:v>
                </c:pt>
                <c:pt idx="129">
                  <c:v>-0.26017222436999998</c:v>
                </c:pt>
                <c:pt idx="130">
                  <c:v>-0.20558042738000001</c:v>
                </c:pt>
                <c:pt idx="131">
                  <c:v>-0.17308047344999999</c:v>
                </c:pt>
                <c:pt idx="132">
                  <c:v>-0.11542065705</c:v>
                </c:pt>
                <c:pt idx="133">
                  <c:v>-0.11292816469</c:v>
                </c:pt>
                <c:pt idx="134">
                  <c:v>-4.8805789240000001E-2</c:v>
                </c:pt>
                <c:pt idx="135">
                  <c:v>0.15115471838</c:v>
                </c:pt>
                <c:pt idx="136">
                  <c:v>0.21072545734000001</c:v>
                </c:pt>
                <c:pt idx="137">
                  <c:v>0.19109686280999999</c:v>
                </c:pt>
                <c:pt idx="138">
                  <c:v>0.16278515404999999</c:v>
                </c:pt>
                <c:pt idx="139">
                  <c:v>0.24012128268999999</c:v>
                </c:pt>
                <c:pt idx="140">
                  <c:v>0.31024910318999999</c:v>
                </c:pt>
                <c:pt idx="141">
                  <c:v>0.22146768897999999</c:v>
                </c:pt>
                <c:pt idx="142">
                  <c:v>6.0855981560000001E-2</c:v>
                </c:pt>
                <c:pt idx="143">
                  <c:v>0.10981709667</c:v>
                </c:pt>
                <c:pt idx="144">
                  <c:v>0.15299933045</c:v>
                </c:pt>
                <c:pt idx="145">
                  <c:v>0.11664005067</c:v>
                </c:pt>
                <c:pt idx="146">
                  <c:v>1.8275687259999999E-2</c:v>
                </c:pt>
                <c:pt idx="147">
                  <c:v>-3.5311520669999999E-2</c:v>
                </c:pt>
                <c:pt idx="148">
                  <c:v>-4.3286864330000001E-2</c:v>
                </c:pt>
                <c:pt idx="149">
                  <c:v>-4.2692530919999999E-2</c:v>
                </c:pt>
                <c:pt idx="150">
                  <c:v>-2.1149265300000001E-2</c:v>
                </c:pt>
                <c:pt idx="151">
                  <c:v>-2.4735138510000001E-2</c:v>
                </c:pt>
                <c:pt idx="152">
                  <c:v>-9.8399383599999998E-3</c:v>
                </c:pt>
                <c:pt idx="153">
                  <c:v>1.435623028E-2</c:v>
                </c:pt>
                <c:pt idx="154">
                  <c:v>3.1404013410000001E-2</c:v>
                </c:pt>
                <c:pt idx="155">
                  <c:v>7.8653269100000006E-2</c:v>
                </c:pt>
                <c:pt idx="156">
                  <c:v>8.3485902170000001E-2</c:v>
                </c:pt>
                <c:pt idx="157">
                  <c:v>2.209452441E-2</c:v>
                </c:pt>
                <c:pt idx="158">
                  <c:v>3.0137562109999998E-2</c:v>
                </c:pt>
                <c:pt idx="159">
                  <c:v>-2.4632993280000001E-2</c:v>
                </c:pt>
                <c:pt idx="160">
                  <c:v>3.361732773E-2</c:v>
                </c:pt>
                <c:pt idx="161">
                  <c:v>0.11780510595</c:v>
                </c:pt>
                <c:pt idx="162">
                  <c:v>0.10912621359000001</c:v>
                </c:pt>
                <c:pt idx="163">
                  <c:v>0.12510741246000001</c:v>
                </c:pt>
                <c:pt idx="164">
                  <c:v>9.1696089989999993E-2</c:v>
                </c:pt>
                <c:pt idx="165">
                  <c:v>3.0704534160000001E-2</c:v>
                </c:pt>
                <c:pt idx="166">
                  <c:v>0.13264823384999999</c:v>
                </c:pt>
                <c:pt idx="167">
                  <c:v>-8.2901439150000006E-2</c:v>
                </c:pt>
                <c:pt idx="168">
                  <c:v>-0.19924532822999999</c:v>
                </c:pt>
                <c:pt idx="169">
                  <c:v>-0.12125501829</c:v>
                </c:pt>
                <c:pt idx="170">
                  <c:v>-7.0543295450000001E-2</c:v>
                </c:pt>
                <c:pt idx="171">
                  <c:v>-5.7444250350000003E-2</c:v>
                </c:pt>
                <c:pt idx="172">
                  <c:v>-4.3507352780000001E-2</c:v>
                </c:pt>
                <c:pt idx="173">
                  <c:v>6.7356656700000003E-2</c:v>
                </c:pt>
                <c:pt idx="174">
                  <c:v>0.19623724973000001</c:v>
                </c:pt>
                <c:pt idx="175">
                  <c:v>5.8075997060000002E-2</c:v>
                </c:pt>
                <c:pt idx="176">
                  <c:v>-5.481383251E-2</c:v>
                </c:pt>
                <c:pt idx="177">
                  <c:v>-1.6808343489999999E-2</c:v>
                </c:pt>
                <c:pt idx="178">
                  <c:v>-0.12570093908999999</c:v>
                </c:pt>
                <c:pt idx="179">
                  <c:v>-0.21578951564000001</c:v>
                </c:pt>
                <c:pt idx="180">
                  <c:v>-0.26828311979000002</c:v>
                </c:pt>
                <c:pt idx="181">
                  <c:v>-0.21114351840000001</c:v>
                </c:pt>
                <c:pt idx="182">
                  <c:v>-0.10027328973000001</c:v>
                </c:pt>
                <c:pt idx="183">
                  <c:v>-0.12994203458</c:v>
                </c:pt>
                <c:pt idx="184">
                  <c:v>-0.13909630001000001</c:v>
                </c:pt>
                <c:pt idx="185">
                  <c:v>-1.604332361E-2</c:v>
                </c:pt>
                <c:pt idx="186">
                  <c:v>2.9646150190000001E-2</c:v>
                </c:pt>
                <c:pt idx="187">
                  <c:v>-3.701923503E-2</c:v>
                </c:pt>
                <c:pt idx="188">
                  <c:v>-7.6110510900000003E-3</c:v>
                </c:pt>
                <c:pt idx="189">
                  <c:v>-2.7206601569999999E-2</c:v>
                </c:pt>
                <c:pt idx="190">
                  <c:v>5.1369863039999998E-2</c:v>
                </c:pt>
                <c:pt idx="191">
                  <c:v>5.2482852910000002E-2</c:v>
                </c:pt>
                <c:pt idx="192">
                  <c:v>0.10325812064999999</c:v>
                </c:pt>
                <c:pt idx="193">
                  <c:v>0.16521998231000001</c:v>
                </c:pt>
                <c:pt idx="194">
                  <c:v>0.12292912003000001</c:v>
                </c:pt>
                <c:pt idx="195">
                  <c:v>0.11583667524000001</c:v>
                </c:pt>
                <c:pt idx="196">
                  <c:v>6.5514758800000003E-2</c:v>
                </c:pt>
                <c:pt idx="197">
                  <c:v>-1.7299080399999999E-3</c:v>
                </c:pt>
                <c:pt idx="198">
                  <c:v>-0.12047047967000001</c:v>
                </c:pt>
                <c:pt idx="199">
                  <c:v>-0.15228175432999999</c:v>
                </c:pt>
                <c:pt idx="200">
                  <c:v>-0.17423037975</c:v>
                </c:pt>
                <c:pt idx="201">
                  <c:v>-0.15607490024000001</c:v>
                </c:pt>
                <c:pt idx="202">
                  <c:v>-0.10130585861999999</c:v>
                </c:pt>
                <c:pt idx="203">
                  <c:v>3.3720422809999998E-2</c:v>
                </c:pt>
                <c:pt idx="204">
                  <c:v>0.12819662466000001</c:v>
                </c:pt>
                <c:pt idx="205">
                  <c:v>0.27963392198999998</c:v>
                </c:pt>
                <c:pt idx="206">
                  <c:v>0.29038340997000001</c:v>
                </c:pt>
                <c:pt idx="207">
                  <c:v>0.38200561930999999</c:v>
                </c:pt>
                <c:pt idx="208">
                  <c:v>0.36507256748</c:v>
                </c:pt>
                <c:pt idx="209">
                  <c:v>0.18148432552999999</c:v>
                </c:pt>
                <c:pt idx="210">
                  <c:v>8.0352413760000005E-2</c:v>
                </c:pt>
                <c:pt idx="211">
                  <c:v>-1.839144979E-2</c:v>
                </c:pt>
                <c:pt idx="212">
                  <c:v>-2.692297947E-2</c:v>
                </c:pt>
                <c:pt idx="213">
                  <c:v>-8.1202668300000003E-3</c:v>
                </c:pt>
                <c:pt idx="214">
                  <c:v>4.8494678799999996E-3</c:v>
                </c:pt>
                <c:pt idx="215">
                  <c:v>-1.2379179610000001E-2</c:v>
                </c:pt>
                <c:pt idx="216">
                  <c:v>-9.0030304899999993E-3</c:v>
                </c:pt>
                <c:pt idx="217">
                  <c:v>0.19543410585000001</c:v>
                </c:pt>
                <c:pt idx="218">
                  <c:v>0.31230391020999998</c:v>
                </c:pt>
                <c:pt idx="219">
                  <c:v>0.35865874363</c:v>
                </c:pt>
                <c:pt idx="220">
                  <c:v>0.26414558064999999</c:v>
                </c:pt>
                <c:pt idx="221">
                  <c:v>0.36763330212000001</c:v>
                </c:pt>
                <c:pt idx="222">
                  <c:v>0.54851637769999995</c:v>
                </c:pt>
                <c:pt idx="223">
                  <c:v>0.37720652238000002</c:v>
                </c:pt>
                <c:pt idx="224">
                  <c:v>0.16710232022999999</c:v>
                </c:pt>
                <c:pt idx="225">
                  <c:v>0.12493324041999999</c:v>
                </c:pt>
                <c:pt idx="226">
                  <c:v>0.13631545477000001</c:v>
                </c:pt>
                <c:pt idx="227">
                  <c:v>8.3080040519999995E-2</c:v>
                </c:pt>
                <c:pt idx="228">
                  <c:v>-2.4832419259999999E-2</c:v>
                </c:pt>
                <c:pt idx="229">
                  <c:v>-0.14077430849</c:v>
                </c:pt>
                <c:pt idx="230">
                  <c:v>-9.9020237730000002E-2</c:v>
                </c:pt>
                <c:pt idx="231">
                  <c:v>-7.0336246190000007E-2</c:v>
                </c:pt>
                <c:pt idx="232">
                  <c:v>-7.2548304770000002E-2</c:v>
                </c:pt>
                <c:pt idx="233">
                  <c:v>-5.7591623039999998E-2</c:v>
                </c:pt>
                <c:pt idx="234">
                  <c:v>0.11899685025999999</c:v>
                </c:pt>
                <c:pt idx="235">
                  <c:v>0.21984958366999999</c:v>
                </c:pt>
                <c:pt idx="236">
                  <c:v>0.26507982585000001</c:v>
                </c:pt>
                <c:pt idx="237">
                  <c:v>0.13616090947000001</c:v>
                </c:pt>
                <c:pt idx="238">
                  <c:v>8.9489764720000003E-2</c:v>
                </c:pt>
                <c:pt idx="239">
                  <c:v>0.16666666667999999</c:v>
                </c:pt>
                <c:pt idx="240">
                  <c:v>4.9276120700000002E-2</c:v>
                </c:pt>
                <c:pt idx="241">
                  <c:v>-0.11200216255000001</c:v>
                </c:pt>
                <c:pt idx="242">
                  <c:v>-0.25583237327000002</c:v>
                </c:pt>
                <c:pt idx="243">
                  <c:v>-0.27204244031000002</c:v>
                </c:pt>
                <c:pt idx="244">
                  <c:v>-0.35203162118999998</c:v>
                </c:pt>
                <c:pt idx="245">
                  <c:v>-0.21608430393</c:v>
                </c:pt>
                <c:pt idx="246">
                  <c:v>-0.25461295021000002</c:v>
                </c:pt>
                <c:pt idx="247">
                  <c:v>-0.17492565559000001</c:v>
                </c:pt>
                <c:pt idx="248">
                  <c:v>0.13717358688</c:v>
                </c:pt>
                <c:pt idx="249">
                  <c:v>0.42939814813999999</c:v>
                </c:pt>
                <c:pt idx="250">
                  <c:v>0.7477468652</c:v>
                </c:pt>
                <c:pt idx="251">
                  <c:v>0.47331004470999999</c:v>
                </c:pt>
                <c:pt idx="252">
                  <c:v>0.43943191312000002</c:v>
                </c:pt>
                <c:pt idx="253">
                  <c:v>0.67108134773000006</c:v>
                </c:pt>
                <c:pt idx="254">
                  <c:v>0.41595391865999998</c:v>
                </c:pt>
                <c:pt idx="255">
                  <c:v>0.10181997048999999</c:v>
                </c:pt>
                <c:pt idx="256">
                  <c:v>2.2684098770000001E-2</c:v>
                </c:pt>
                <c:pt idx="257">
                  <c:v>-0.17041984733000001</c:v>
                </c:pt>
                <c:pt idx="258">
                  <c:v>-0.27278250303000001</c:v>
                </c:pt>
                <c:pt idx="259">
                  <c:v>-0.38892244959</c:v>
                </c:pt>
                <c:pt idx="260">
                  <c:v>-0.44347052847000001</c:v>
                </c:pt>
                <c:pt idx="261">
                  <c:v>-0.43869224246999999</c:v>
                </c:pt>
                <c:pt idx="262">
                  <c:v>-0.35511575803000001</c:v>
                </c:pt>
                <c:pt idx="263">
                  <c:v>-0.31259370314000001</c:v>
                </c:pt>
                <c:pt idx="264">
                  <c:v>-6.7374059939999995E-2</c:v>
                </c:pt>
                <c:pt idx="265">
                  <c:v>0.10283140283</c:v>
                </c:pt>
                <c:pt idx="266">
                  <c:v>0.11799360376</c:v>
                </c:pt>
                <c:pt idx="267">
                  <c:v>0.44511149229000002</c:v>
                </c:pt>
                <c:pt idx="268">
                  <c:v>0.32712956339999999</c:v>
                </c:pt>
                <c:pt idx="269">
                  <c:v>0.1123287671</c:v>
                </c:pt>
                <c:pt idx="270">
                  <c:v>3.2283057839999997E-2</c:v>
                </c:pt>
                <c:pt idx="271">
                  <c:v>-4.1754756859999999E-2</c:v>
                </c:pt>
                <c:pt idx="272">
                  <c:v>0.55283724095999998</c:v>
                </c:pt>
                <c:pt idx="273">
                  <c:v>0.46206896550999998</c:v>
                </c:pt>
                <c:pt idx="274">
                  <c:v>0.12247474747000001</c:v>
                </c:pt>
                <c:pt idx="275">
                  <c:v>0.80494505499000002</c:v>
                </c:pt>
                <c:pt idx="276">
                  <c:v>1.17687074833</c:v>
                </c:pt>
                <c:pt idx="277">
                  <c:v>1.0012928248199999</c:v>
                </c:pt>
                <c:pt idx="278">
                  <c:v>0.22816901409000001</c:v>
                </c:pt>
                <c:pt idx="279">
                  <c:v>-0.39267015708000003</c:v>
                </c:pt>
                <c:pt idx="280">
                  <c:v>-0.12292358805</c:v>
                </c:pt>
                <c:pt idx="281">
                  <c:v>-0.45833333331999998</c:v>
                </c:pt>
                <c:pt idx="282">
                  <c:v>-0.66762589929000005</c:v>
                </c:pt>
                <c:pt idx="283">
                  <c:v>-0.79012345677999996</c:v>
                </c:pt>
                <c:pt idx="284">
                  <c:v>-0.75573394497000002</c:v>
                </c:pt>
                <c:pt idx="285">
                  <c:v>-0.5774336283</c:v>
                </c:pt>
                <c:pt idx="286">
                  <c:v>-0.14851485146000001</c:v>
                </c:pt>
                <c:pt idx="287">
                  <c:v>0.12280701749</c:v>
                </c:pt>
                <c:pt idx="288">
                  <c:v>0.46315789473000002</c:v>
                </c:pt>
                <c:pt idx="289">
                  <c:v>0.44444444440000003</c:v>
                </c:pt>
                <c:pt idx="290">
                  <c:v>2.6741573035499999</c:v>
                </c:pt>
                <c:pt idx="291">
                  <c:v>2.68478260872</c:v>
                </c:pt>
                <c:pt idx="292">
                  <c:v>1.2954545454199999</c:v>
                </c:pt>
                <c:pt idx="293">
                  <c:v>0.69642857149000004</c:v>
                </c:pt>
                <c:pt idx="294">
                  <c:v>0.71686746993999995</c:v>
                </c:pt>
                <c:pt idx="295">
                  <c:v>2.5217391304799999</c:v>
                </c:pt>
                <c:pt idx="296">
                  <c:v>0.41269841271000002</c:v>
                </c:pt>
                <c:pt idx="297">
                  <c:v>-0.37414965985999998</c:v>
                </c:pt>
                <c:pt idx="298">
                  <c:v>-0.55102040815999997</c:v>
                </c:pt>
                <c:pt idx="299">
                  <c:v>-1</c:v>
                </c:pt>
                <c:pt idx="300">
                  <c:v>-1</c:v>
                </c:pt>
                <c:pt idx="301">
                  <c:v>-1</c:v>
                </c:pt>
                <c:pt idx="302">
                  <c:v>-1</c:v>
                </c:pt>
                <c:pt idx="303">
                  <c:v>-1</c:v>
                </c:pt>
                <c:pt idx="304">
                  <c:v>-1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-0.47058823530999999</c:v>
                </c:pt>
                <c:pt idx="317">
                  <c:v>-0.40909090911000001</c:v>
                </c:pt>
                <c:pt idx="318">
                  <c:v>-0.44927536230999998</c:v>
                </c:pt>
                <c:pt idx="319">
                  <c:v>-0.52054794523000003</c:v>
                </c:pt>
                <c:pt idx="320">
                  <c:v>-0.24324324322999999</c:v>
                </c:pt>
                <c:pt idx="321">
                  <c:v>0.13333333335</c:v>
                </c:pt>
                <c:pt idx="322">
                  <c:v>1.4285714287</c:v>
                </c:pt>
                <c:pt idx="323">
                  <c:v>1.44444444452</c:v>
                </c:pt>
                <c:pt idx="324">
                  <c:v>1.55555555558</c:v>
                </c:pt>
                <c:pt idx="325">
                  <c:v>3.0555555557999998</c:v>
                </c:pt>
                <c:pt idx="326">
                  <c:v>1.1764705881999999</c:v>
                </c:pt>
                <c:pt idx="327">
                  <c:v>0.24999999999</c:v>
                </c:pt>
                <c:pt idx="328">
                  <c:v>0</c:v>
                </c:pt>
                <c:pt idx="329">
                  <c:v>-3.5714285720000002E-2</c:v>
                </c:pt>
                <c:pt idx="330">
                  <c:v>1.8867924509999998E-2</c:v>
                </c:pt>
                <c:pt idx="331">
                  <c:v>-9.9999999990000005E-2</c:v>
                </c:pt>
                <c:pt idx="332">
                  <c:v>-7.272727272E-2</c:v>
                </c:pt>
                <c:pt idx="333">
                  <c:v>0.81132075473999998</c:v>
                </c:pt>
                <c:pt idx="334">
                  <c:v>1.03636363637</c:v>
                </c:pt>
                <c:pt idx="335">
                  <c:v>0.64705882351999999</c:v>
                </c:pt>
                <c:pt idx="336">
                  <c:v>0.52884615386</c:v>
                </c:pt>
                <c:pt idx="337">
                  <c:v>0.50943396226000004</c:v>
                </c:pt>
                <c:pt idx="338">
                  <c:v>0.19565217391</c:v>
                </c:pt>
                <c:pt idx="339">
                  <c:v>-0.25</c:v>
                </c:pt>
                <c:pt idx="340">
                  <c:v>-0.48113207546999998</c:v>
                </c:pt>
                <c:pt idx="341">
                  <c:v>-0.35849056603000001</c:v>
                </c:pt>
                <c:pt idx="342">
                  <c:v>-0.34591194969</c:v>
                </c:pt>
                <c:pt idx="343">
                  <c:v>-0.49038461539</c:v>
                </c:pt>
                <c:pt idx="344">
                  <c:v>-0.46198830409000002</c:v>
                </c:pt>
                <c:pt idx="345">
                  <c:v>-0.39080459769999998</c:v>
                </c:pt>
                <c:pt idx="346">
                  <c:v>-0.52678571427999998</c:v>
                </c:pt>
                <c:pt idx="347">
                  <c:v>-0.53508771928999999</c:v>
                </c:pt>
                <c:pt idx="348">
                  <c:v>-0.10169491525</c:v>
                </c:pt>
                <c:pt idx="349">
                  <c:v>-0.1186440678</c:v>
                </c:pt>
                <c:pt idx="350">
                  <c:v>-0.1617647059</c:v>
                </c:pt>
                <c:pt idx="351">
                  <c:v>-0.57352941178000005</c:v>
                </c:pt>
                <c:pt idx="352">
                  <c:v>-0.12499999999</c:v>
                </c:pt>
                <c:pt idx="353">
                  <c:v>2.6190476190599998</c:v>
                </c:pt>
                <c:pt idx="354">
                  <c:v>1.2014925373400001</c:v>
                </c:pt>
                <c:pt idx="355">
                  <c:v>0.76119402987999996</c:v>
                </c:pt>
                <c:pt idx="356">
                  <c:v>1.57575757581</c:v>
                </c:pt>
                <c:pt idx="357">
                  <c:v>5.00000000034</c:v>
                </c:pt>
                <c:pt idx="358">
                  <c:v>5.0540540540099999</c:v>
                </c:pt>
                <c:pt idx="359">
                  <c:v>0.36111111109999999</c:v>
                </c:pt>
                <c:pt idx="360">
                  <c:v>-0.34634146342</c:v>
                </c:pt>
                <c:pt idx="361">
                  <c:v>-0.37962962962000002</c:v>
                </c:pt>
                <c:pt idx="362">
                  <c:v>-0.49873417721000002</c:v>
                </c:pt>
                <c:pt idx="363">
                  <c:v>-0.71666666666000001</c:v>
                </c:pt>
                <c:pt idx="364">
                  <c:v>-0.86090225564</c:v>
                </c:pt>
                <c:pt idx="365">
                  <c:v>-0.86058519792999999</c:v>
                </c:pt>
                <c:pt idx="366">
                  <c:v>-0.77222222222000003</c:v>
                </c:pt>
                <c:pt idx="367">
                  <c:v>-2.702702702E-2</c:v>
                </c:pt>
                <c:pt idx="368">
                  <c:v>-0.10734463278</c:v>
                </c:pt>
                <c:pt idx="369">
                  <c:v>0.6</c:v>
                </c:pt>
                <c:pt idx="370">
                  <c:v>1.7142857144300001</c:v>
                </c:pt>
                <c:pt idx="371">
                  <c:v>2.0931677018500001</c:v>
                </c:pt>
                <c:pt idx="372">
                  <c:v>1.81250000002</c:v>
                </c:pt>
                <c:pt idx="373">
                  <c:v>-0.16415662651999999</c:v>
                </c:pt>
                <c:pt idx="374">
                  <c:v>-0.47941176471000002</c:v>
                </c:pt>
                <c:pt idx="375">
                  <c:v>-0.55357142856999997</c:v>
                </c:pt>
                <c:pt idx="376">
                  <c:v>-0.66060606060000004</c:v>
                </c:pt>
                <c:pt idx="377">
                  <c:v>-0.10555555555</c:v>
                </c:pt>
                <c:pt idx="378">
                  <c:v>-1.030927836E-2</c:v>
                </c:pt>
                <c:pt idx="379">
                  <c:v>1.0050251200000001E-3</c:v>
                </c:pt>
                <c:pt idx="380">
                  <c:v>0.61904761907000005</c:v>
                </c:pt>
                <c:pt idx="381">
                  <c:v>0.49999999997</c:v>
                </c:pt>
                <c:pt idx="382">
                  <c:v>1.1806167400700001</c:v>
                </c:pt>
                <c:pt idx="383">
                  <c:v>-0.11764705884</c:v>
                </c:pt>
                <c:pt idx="384">
                  <c:v>-0.58547008547000001</c:v>
                </c:pt>
                <c:pt idx="385">
                  <c:v>-0.70906432749000003</c:v>
                </c:pt>
                <c:pt idx="386">
                  <c:v>-0.70711297073000001</c:v>
                </c:pt>
                <c:pt idx="387">
                  <c:v>-0.51304347827999996</c:v>
                </c:pt>
                <c:pt idx="388">
                  <c:v>-0.65915915915000001</c:v>
                </c:pt>
                <c:pt idx="389">
                  <c:v>-0.56962025314999998</c:v>
                </c:pt>
                <c:pt idx="390">
                  <c:v>-1.6806722709999999E-2</c:v>
                </c:pt>
                <c:pt idx="391">
                  <c:v>1.21789883279</c:v>
                </c:pt>
                <c:pt idx="392">
                  <c:v>1.9875000002900001</c:v>
                </c:pt>
                <c:pt idx="393">
                  <c:v>1.4435590970900001</c:v>
                </c:pt>
                <c:pt idx="394">
                  <c:v>1.9698996654600001</c:v>
                </c:pt>
                <c:pt idx="395">
                  <c:v>1.5409356725300001</c:v>
                </c:pt>
                <c:pt idx="396">
                  <c:v>1.19152854523</c:v>
                </c:pt>
                <c:pt idx="397">
                  <c:v>0.51581769434000002</c:v>
                </c:pt>
                <c:pt idx="398">
                  <c:v>0.24352331603999999</c:v>
                </c:pt>
                <c:pt idx="399">
                  <c:v>0.1348404255</c:v>
                </c:pt>
                <c:pt idx="400">
                  <c:v>0.47256097562999999</c:v>
                </c:pt>
                <c:pt idx="401">
                  <c:v>0.33485119529000001</c:v>
                </c:pt>
                <c:pt idx="402">
                  <c:v>0.38024263429999999</c:v>
                </c:pt>
                <c:pt idx="403">
                  <c:v>0.32504440500999998</c:v>
                </c:pt>
                <c:pt idx="404">
                  <c:v>0.21057347671000001</c:v>
                </c:pt>
                <c:pt idx="405">
                  <c:v>0.20405951326999999</c:v>
                </c:pt>
                <c:pt idx="406">
                  <c:v>-7.0913556779999998E-2</c:v>
                </c:pt>
                <c:pt idx="407">
                  <c:v>-0.24622437972</c:v>
                </c:pt>
                <c:pt idx="408">
                  <c:v>-9.2767295590000007E-2</c:v>
                </c:pt>
                <c:pt idx="409">
                  <c:v>-0.14578328487</c:v>
                </c:pt>
                <c:pt idx="410">
                  <c:v>-0.14616232098000001</c:v>
                </c:pt>
                <c:pt idx="411">
                  <c:v>-0.31965811966000002</c:v>
                </c:pt>
                <c:pt idx="412">
                  <c:v>-0.41440124717999999</c:v>
                </c:pt>
                <c:pt idx="413">
                  <c:v>-0.47345291479000001</c:v>
                </c:pt>
                <c:pt idx="414">
                  <c:v>-0.54293927417999999</c:v>
                </c:pt>
                <c:pt idx="415">
                  <c:v>-0.68793402779000001</c:v>
                </c:pt>
                <c:pt idx="416">
                  <c:v>-0.73385461210000003</c:v>
                </c:pt>
                <c:pt idx="417">
                  <c:v>-0.69213226910000003</c:v>
                </c:pt>
                <c:pt idx="418">
                  <c:v>-0.47074554296999999</c:v>
                </c:pt>
                <c:pt idx="419">
                  <c:v>-8.3059210499999994E-2</c:v>
                </c:pt>
                <c:pt idx="420">
                  <c:v>-0.10264402407000001</c:v>
                </c:pt>
                <c:pt idx="421">
                  <c:v>0.20707269159</c:v>
                </c:pt>
                <c:pt idx="422">
                  <c:v>0.55538788283999996</c:v>
                </c:pt>
                <c:pt idx="423">
                  <c:v>0.56719085066999997</c:v>
                </c:pt>
                <c:pt idx="424">
                  <c:v>0.17759328185000001</c:v>
                </c:pt>
                <c:pt idx="425">
                  <c:v>-0.20179085388000001</c:v>
                </c:pt>
                <c:pt idx="426">
                  <c:v>-0.22934984835</c:v>
                </c:pt>
                <c:pt idx="427">
                  <c:v>5.9330174190000001E-2</c:v>
                </c:pt>
                <c:pt idx="428">
                  <c:v>-1.173270756E-2</c:v>
                </c:pt>
                <c:pt idx="429">
                  <c:v>-0.12116215158</c:v>
                </c:pt>
                <c:pt idx="430">
                  <c:v>-2.1568627489999999E-2</c:v>
                </c:pt>
                <c:pt idx="431">
                  <c:v>0.16161094498</c:v>
                </c:pt>
                <c:pt idx="432">
                  <c:v>0.39697223423</c:v>
                </c:pt>
                <c:pt idx="433">
                  <c:v>9.4156140380000003E-2</c:v>
                </c:pt>
                <c:pt idx="434">
                  <c:v>6.8182065489999999E-2</c:v>
                </c:pt>
                <c:pt idx="435">
                  <c:v>0.18238403824999999</c:v>
                </c:pt>
                <c:pt idx="436">
                  <c:v>0.16358484945000001</c:v>
                </c:pt>
                <c:pt idx="437">
                  <c:v>-6.9334064099999995E-2</c:v>
                </c:pt>
                <c:pt idx="438">
                  <c:v>-0.16921441038000001</c:v>
                </c:pt>
                <c:pt idx="439">
                  <c:v>-0.17572542496999999</c:v>
                </c:pt>
                <c:pt idx="440">
                  <c:v>-0.14829553335000001</c:v>
                </c:pt>
                <c:pt idx="441">
                  <c:v>-0.26546200442000001</c:v>
                </c:pt>
                <c:pt idx="442">
                  <c:v>-0.31353782035</c:v>
                </c:pt>
                <c:pt idx="443">
                  <c:v>-0.12292345440999999</c:v>
                </c:pt>
                <c:pt idx="444">
                  <c:v>-9.3577641239999995E-2</c:v>
                </c:pt>
                <c:pt idx="445">
                  <c:v>-7.3787573709999998E-2</c:v>
                </c:pt>
                <c:pt idx="446">
                  <c:v>7.2519250830000007E-2</c:v>
                </c:pt>
                <c:pt idx="447">
                  <c:v>0.30518214934999999</c:v>
                </c:pt>
                <c:pt idx="448">
                  <c:v>0.42385974978000002</c:v>
                </c:pt>
                <c:pt idx="449">
                  <c:v>0.15043812214999999</c:v>
                </c:pt>
                <c:pt idx="450">
                  <c:v>7.5574940470000004E-2</c:v>
                </c:pt>
                <c:pt idx="451">
                  <c:v>0.16855628487999999</c:v>
                </c:pt>
                <c:pt idx="452">
                  <c:v>2.7673999389999999E-2</c:v>
                </c:pt>
                <c:pt idx="453">
                  <c:v>-0.16972481052999999</c:v>
                </c:pt>
                <c:pt idx="454">
                  <c:v>-0.29081917557999998</c:v>
                </c:pt>
                <c:pt idx="455">
                  <c:v>-0.25293603895</c:v>
                </c:pt>
                <c:pt idx="456">
                  <c:v>-0.11768821715</c:v>
                </c:pt>
                <c:pt idx="457">
                  <c:v>-0.17108800494000001</c:v>
                </c:pt>
                <c:pt idx="458">
                  <c:v>-0.26250981089999997</c:v>
                </c:pt>
                <c:pt idx="459">
                  <c:v>-0.13821482851</c:v>
                </c:pt>
                <c:pt idx="460">
                  <c:v>-4.8536911359999997E-2</c:v>
                </c:pt>
                <c:pt idx="461">
                  <c:v>5.6659507980000003E-2</c:v>
                </c:pt>
                <c:pt idx="462">
                  <c:v>-5.3976332539999998E-2</c:v>
                </c:pt>
                <c:pt idx="463">
                  <c:v>-9.4221062529999997E-2</c:v>
                </c:pt>
                <c:pt idx="464">
                  <c:v>-2.98368528E-3</c:v>
                </c:pt>
                <c:pt idx="465">
                  <c:v>3.3986107520000003E-2</c:v>
                </c:pt>
                <c:pt idx="466">
                  <c:v>1.480611385E-2</c:v>
                </c:pt>
                <c:pt idx="467">
                  <c:v>2.92894936E-3</c:v>
                </c:pt>
                <c:pt idx="468">
                  <c:v>-3.7418319929999999E-2</c:v>
                </c:pt>
                <c:pt idx="469">
                  <c:v>0.16294020055</c:v>
                </c:pt>
                <c:pt idx="470">
                  <c:v>0.26881122545000002</c:v>
                </c:pt>
                <c:pt idx="471">
                  <c:v>0.2496355485</c:v>
                </c:pt>
                <c:pt idx="472">
                  <c:v>0.33481319971000001</c:v>
                </c:pt>
                <c:pt idx="473">
                  <c:v>0.22754759241</c:v>
                </c:pt>
                <c:pt idx="474">
                  <c:v>0.28983516479999999</c:v>
                </c:pt>
                <c:pt idx="475">
                  <c:v>0.25118104014999998</c:v>
                </c:pt>
                <c:pt idx="476">
                  <c:v>0.15529073844999999</c:v>
                </c:pt>
                <c:pt idx="477">
                  <c:v>8.2961033939999998E-2</c:v>
                </c:pt>
                <c:pt idx="478">
                  <c:v>9.7723714959999999E-2</c:v>
                </c:pt>
                <c:pt idx="479">
                  <c:v>0.29059126348999997</c:v>
                </c:pt>
                <c:pt idx="480">
                  <c:v>0.43558282209999999</c:v>
                </c:pt>
                <c:pt idx="481">
                  <c:v>0.35139832135999999</c:v>
                </c:pt>
                <c:pt idx="482">
                  <c:v>0.34648541223000001</c:v>
                </c:pt>
                <c:pt idx="483">
                  <c:v>0.58264947245999998</c:v>
                </c:pt>
                <c:pt idx="484">
                  <c:v>0.67032912948000001</c:v>
                </c:pt>
                <c:pt idx="485">
                  <c:v>0.41956947166000003</c:v>
                </c:pt>
                <c:pt idx="486">
                  <c:v>0.19830634654000001</c:v>
                </c:pt>
                <c:pt idx="487">
                  <c:v>0.23864354826</c:v>
                </c:pt>
                <c:pt idx="488">
                  <c:v>0.27099337220000003</c:v>
                </c:pt>
                <c:pt idx="489">
                  <c:v>-7.683982684E-2</c:v>
                </c:pt>
                <c:pt idx="490">
                  <c:v>-0.34203602510999997</c:v>
                </c:pt>
                <c:pt idx="491">
                  <c:v>-0.39291101058</c:v>
                </c:pt>
                <c:pt idx="492">
                  <c:v>-0.39428930334000001</c:v>
                </c:pt>
                <c:pt idx="493">
                  <c:v>-0.38098215575</c:v>
                </c:pt>
                <c:pt idx="494">
                  <c:v>-0.47163203927000003</c:v>
                </c:pt>
                <c:pt idx="495">
                  <c:v>-0.40662809049999998</c:v>
                </c:pt>
                <c:pt idx="496">
                  <c:v>-4.7997644239999998E-2</c:v>
                </c:pt>
                <c:pt idx="497">
                  <c:v>0.14544865570000001</c:v>
                </c:pt>
                <c:pt idx="498">
                  <c:v>0.32645555723000003</c:v>
                </c:pt>
                <c:pt idx="499">
                  <c:v>0.21705515366</c:v>
                </c:pt>
                <c:pt idx="500">
                  <c:v>0.30616438358999998</c:v>
                </c:pt>
                <c:pt idx="501">
                  <c:v>0.21098229078</c:v>
                </c:pt>
                <c:pt idx="502">
                  <c:v>-0.16241213469999999</c:v>
                </c:pt>
                <c:pt idx="503">
                  <c:v>-0.36882638918999999</c:v>
                </c:pt>
                <c:pt idx="504">
                  <c:v>-0.51260906706999998</c:v>
                </c:pt>
                <c:pt idx="505">
                  <c:v>-0.57580279491999997</c:v>
                </c:pt>
                <c:pt idx="506">
                  <c:v>-0.59918448092999999</c:v>
                </c:pt>
                <c:pt idx="507">
                  <c:v>-0.60542043088999997</c:v>
                </c:pt>
                <c:pt idx="508">
                  <c:v>-0.48169059526000002</c:v>
                </c:pt>
                <c:pt idx="509">
                  <c:v>-0.24859596123</c:v>
                </c:pt>
                <c:pt idx="510">
                  <c:v>-4.5081793619999998E-2</c:v>
                </c:pt>
                <c:pt idx="511">
                  <c:v>3.2224159800000002E-3</c:v>
                </c:pt>
                <c:pt idx="512">
                  <c:v>-3.2474161059999999E-2</c:v>
                </c:pt>
                <c:pt idx="513">
                  <c:v>9.8643635209999997E-2</c:v>
                </c:pt>
                <c:pt idx="514">
                  <c:v>-0.12200293419</c:v>
                </c:pt>
                <c:pt idx="515">
                  <c:v>-0.27917083354</c:v>
                </c:pt>
                <c:pt idx="516">
                  <c:v>-0.36276308212000002</c:v>
                </c:pt>
                <c:pt idx="517">
                  <c:v>-0.31713068860999999</c:v>
                </c:pt>
                <c:pt idx="518">
                  <c:v>-0.14091169716999999</c:v>
                </c:pt>
                <c:pt idx="519">
                  <c:v>-9.4390610870000002E-2</c:v>
                </c:pt>
                <c:pt idx="520">
                  <c:v>2.3399413710000001E-2</c:v>
                </c:pt>
                <c:pt idx="521">
                  <c:v>7.0978507679999997E-2</c:v>
                </c:pt>
                <c:pt idx="522">
                  <c:v>0.23630789635999999</c:v>
                </c:pt>
                <c:pt idx="523">
                  <c:v>0.23651545322</c:v>
                </c:pt>
                <c:pt idx="524">
                  <c:v>9.2223969239999995E-2</c:v>
                </c:pt>
                <c:pt idx="525">
                  <c:v>-1.8123341080000001E-2</c:v>
                </c:pt>
                <c:pt idx="526">
                  <c:v>1.23433313E-2</c:v>
                </c:pt>
                <c:pt idx="527">
                  <c:v>3.2897029699999997E-2</c:v>
                </c:pt>
                <c:pt idx="528">
                  <c:v>5.2542487700000001E-2</c:v>
                </c:pt>
                <c:pt idx="529">
                  <c:v>1.4997576679999999E-2</c:v>
                </c:pt>
                <c:pt idx="530">
                  <c:v>8.6105908699999997E-2</c:v>
                </c:pt>
                <c:pt idx="531">
                  <c:v>0.27450964165000002</c:v>
                </c:pt>
                <c:pt idx="532">
                  <c:v>0.24326521113999999</c:v>
                </c:pt>
                <c:pt idx="533">
                  <c:v>0.22016708199000001</c:v>
                </c:pt>
                <c:pt idx="534">
                  <c:v>0.10329867866</c:v>
                </c:pt>
                <c:pt idx="535">
                  <c:v>0.12717482274</c:v>
                </c:pt>
                <c:pt idx="536">
                  <c:v>7.6028840619999996E-2</c:v>
                </c:pt>
                <c:pt idx="537">
                  <c:v>0.11729102331000001</c:v>
                </c:pt>
                <c:pt idx="538">
                  <c:v>8.90031778E-3</c:v>
                </c:pt>
                <c:pt idx="539">
                  <c:v>0.14460427302000001</c:v>
                </c:pt>
                <c:pt idx="540">
                  <c:v>0.29608878704000002</c:v>
                </c:pt>
                <c:pt idx="541">
                  <c:v>0.39489693621999999</c:v>
                </c:pt>
                <c:pt idx="542">
                  <c:v>0.32610674958000002</c:v>
                </c:pt>
                <c:pt idx="543">
                  <c:v>0.25945608188000002</c:v>
                </c:pt>
                <c:pt idx="544">
                  <c:v>0.33545508239999999</c:v>
                </c:pt>
                <c:pt idx="545">
                  <c:v>0.12592005529</c:v>
                </c:pt>
                <c:pt idx="546">
                  <c:v>2.9515875819999999E-2</c:v>
                </c:pt>
                <c:pt idx="547">
                  <c:v>-0.16084771089</c:v>
                </c:pt>
                <c:pt idx="548">
                  <c:v>-0.17726017450000001</c:v>
                </c:pt>
                <c:pt idx="549">
                  <c:v>-0.21889903407</c:v>
                </c:pt>
                <c:pt idx="550">
                  <c:v>-0.31407266078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DCC-406F-80CC-496A6C4931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  <c:max val="2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PROC_HOSP_JIP_v_den_pozitivity65_7dni_z_HOSP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53</c:f>
              <c:numCache>
                <c:formatCode>m/d/yyyy</c:formatCode>
                <c:ptCount val="55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</c:numCache>
            </c:numRef>
          </c:cat>
          <c:val>
            <c:numRef>
              <c:f>Sheet1!$B$2:$B$553</c:f>
              <c:numCache>
                <c:formatCode>0.0%</c:formatCode>
                <c:ptCount val="552"/>
                <c:pt idx="0">
                  <c:v>5.6338028169E-2</c:v>
                </c:pt>
                <c:pt idx="1">
                  <c:v>6.9444444443999997E-2</c:v>
                </c:pt>
                <c:pt idx="2">
                  <c:v>6.4102564102000006E-2</c:v>
                </c:pt>
                <c:pt idx="3">
                  <c:v>0.107142857142</c:v>
                </c:pt>
                <c:pt idx="4">
                  <c:v>8.2474226804000003E-2</c:v>
                </c:pt>
                <c:pt idx="5">
                  <c:v>0.102803738317</c:v>
                </c:pt>
                <c:pt idx="6">
                  <c:v>9.0163934426E-2</c:v>
                </c:pt>
                <c:pt idx="7">
                  <c:v>7.9365079364999994E-2</c:v>
                </c:pt>
                <c:pt idx="8">
                  <c:v>8.8435374149000004E-2</c:v>
                </c:pt>
                <c:pt idx="9">
                  <c:v>9.4594594594000006E-2</c:v>
                </c:pt>
                <c:pt idx="10">
                  <c:v>7.1005917158999995E-2</c:v>
                </c:pt>
                <c:pt idx="11">
                  <c:v>9.4117647058000006E-2</c:v>
                </c:pt>
                <c:pt idx="12">
                  <c:v>7.8651685393000006E-2</c:v>
                </c:pt>
                <c:pt idx="13">
                  <c:v>9.0425531914000004E-2</c:v>
                </c:pt>
                <c:pt idx="14">
                  <c:v>9.4594594594000006E-2</c:v>
                </c:pt>
                <c:pt idx="15">
                  <c:v>8.1896551723999997E-2</c:v>
                </c:pt>
                <c:pt idx="16">
                  <c:v>8.4175084174999998E-2</c:v>
                </c:pt>
                <c:pt idx="17">
                  <c:v>7.6677316292999995E-2</c:v>
                </c:pt>
                <c:pt idx="18">
                  <c:v>7.3746312684000004E-2</c:v>
                </c:pt>
                <c:pt idx="19">
                  <c:v>8.5470085469999998E-2</c:v>
                </c:pt>
                <c:pt idx="20">
                  <c:v>8.0729166665999996E-2</c:v>
                </c:pt>
                <c:pt idx="21">
                  <c:v>8.7939698492000007E-2</c:v>
                </c:pt>
                <c:pt idx="22">
                  <c:v>9.2165898617000003E-2</c:v>
                </c:pt>
                <c:pt idx="23">
                  <c:v>9.6551724137E-2</c:v>
                </c:pt>
                <c:pt idx="24">
                  <c:v>0.10359408033799999</c:v>
                </c:pt>
                <c:pt idx="25">
                  <c:v>0.1</c:v>
                </c:pt>
                <c:pt idx="26">
                  <c:v>9.3690248564999995E-2</c:v>
                </c:pt>
                <c:pt idx="27">
                  <c:v>0.1</c:v>
                </c:pt>
                <c:pt idx="28">
                  <c:v>8.3892617449000007E-2</c:v>
                </c:pt>
                <c:pt idx="29">
                  <c:v>7.4074074074000004E-2</c:v>
                </c:pt>
                <c:pt idx="30">
                  <c:v>7.2463768114999993E-2</c:v>
                </c:pt>
                <c:pt idx="31">
                  <c:v>6.8965517241000002E-2</c:v>
                </c:pt>
                <c:pt idx="32">
                  <c:v>8.1151832460000003E-2</c:v>
                </c:pt>
                <c:pt idx="33">
                  <c:v>8.7438423644999999E-2</c:v>
                </c:pt>
                <c:pt idx="34">
                  <c:v>8.2714740189999997E-2</c:v>
                </c:pt>
                <c:pt idx="35">
                  <c:v>8.8321884200000006E-2</c:v>
                </c:pt>
                <c:pt idx="36">
                  <c:v>9.5365418894000006E-2</c:v>
                </c:pt>
                <c:pt idx="37">
                  <c:v>8.5918854414999996E-2</c:v>
                </c:pt>
                <c:pt idx="38">
                  <c:v>8.6956521738999995E-2</c:v>
                </c:pt>
                <c:pt idx="39">
                  <c:v>8.3730428863E-2</c:v>
                </c:pt>
                <c:pt idx="40">
                  <c:v>8.0550098230999997E-2</c:v>
                </c:pt>
                <c:pt idx="41">
                  <c:v>7.5685339690000006E-2</c:v>
                </c:pt>
                <c:pt idx="42">
                  <c:v>7.1268237934000001E-2</c:v>
                </c:pt>
                <c:pt idx="43">
                  <c:v>6.5410779695999996E-2</c:v>
                </c:pt>
                <c:pt idx="44">
                  <c:v>6.5401897153999994E-2</c:v>
                </c:pt>
                <c:pt idx="45">
                  <c:v>6.3691306369E-2</c:v>
                </c:pt>
                <c:pt idx="46">
                  <c:v>5.5483870966999999E-2</c:v>
                </c:pt>
                <c:pt idx="47">
                  <c:v>5.4640417837999999E-2</c:v>
                </c:pt>
                <c:pt idx="48">
                  <c:v>5.3747161240999999E-2</c:v>
                </c:pt>
                <c:pt idx="49">
                  <c:v>5.3883834849000001E-2</c:v>
                </c:pt>
                <c:pt idx="50">
                  <c:v>5.2096569250000002E-2</c:v>
                </c:pt>
                <c:pt idx="51">
                  <c:v>5.3703157272999999E-2</c:v>
                </c:pt>
                <c:pt idx="52">
                  <c:v>5.2209944750999999E-2</c:v>
                </c:pt>
                <c:pt idx="53">
                  <c:v>5.4347826086000001E-2</c:v>
                </c:pt>
                <c:pt idx="54">
                  <c:v>5.6174089067999998E-2</c:v>
                </c:pt>
                <c:pt idx="55">
                  <c:v>5.7542031729999998E-2</c:v>
                </c:pt>
                <c:pt idx="56">
                  <c:v>5.6007226738000002E-2</c:v>
                </c:pt>
                <c:pt idx="57">
                  <c:v>5.4753722794000002E-2</c:v>
                </c:pt>
                <c:pt idx="58">
                  <c:v>5.4633930545999999E-2</c:v>
                </c:pt>
                <c:pt idx="59">
                  <c:v>5.3327734621000003E-2</c:v>
                </c:pt>
                <c:pt idx="60">
                  <c:v>5.4863895336000001E-2</c:v>
                </c:pt>
                <c:pt idx="61">
                  <c:v>5.4106073567E-2</c:v>
                </c:pt>
                <c:pt idx="62">
                  <c:v>5.2395209579999998E-2</c:v>
                </c:pt>
                <c:pt idx="63">
                  <c:v>5.0541516245000001E-2</c:v>
                </c:pt>
                <c:pt idx="64">
                  <c:v>5.0569948185999997E-2</c:v>
                </c:pt>
                <c:pt idx="65">
                  <c:v>5.1085568326000003E-2</c:v>
                </c:pt>
                <c:pt idx="66">
                  <c:v>5.1259193224000001E-2</c:v>
                </c:pt>
                <c:pt idx="67">
                  <c:v>4.8885857206999998E-2</c:v>
                </c:pt>
                <c:pt idx="68">
                  <c:v>4.7067006723000002E-2</c:v>
                </c:pt>
                <c:pt idx="69">
                  <c:v>4.6623407834E-2</c:v>
                </c:pt>
                <c:pt idx="70">
                  <c:v>4.6836073741000003E-2</c:v>
                </c:pt>
                <c:pt idx="71">
                  <c:v>4.6021840873E-2</c:v>
                </c:pt>
                <c:pt idx="72">
                  <c:v>4.2530282636999997E-2</c:v>
                </c:pt>
                <c:pt idx="73">
                  <c:v>4.0373523756999999E-2</c:v>
                </c:pt>
                <c:pt idx="74">
                  <c:v>3.9484738168000001E-2</c:v>
                </c:pt>
                <c:pt idx="75">
                  <c:v>3.8874383520999999E-2</c:v>
                </c:pt>
                <c:pt idx="76">
                  <c:v>3.7137681158999999E-2</c:v>
                </c:pt>
                <c:pt idx="77">
                  <c:v>3.8012670890000003E-2</c:v>
                </c:pt>
                <c:pt idx="78">
                  <c:v>3.9242219214999999E-2</c:v>
                </c:pt>
                <c:pt idx="79">
                  <c:v>3.6805555555000001E-2</c:v>
                </c:pt>
                <c:pt idx="80">
                  <c:v>3.9083051484E-2</c:v>
                </c:pt>
                <c:pt idx="81">
                  <c:v>4.1634241245000002E-2</c:v>
                </c:pt>
                <c:pt idx="82">
                  <c:v>4.0840602695999997E-2</c:v>
                </c:pt>
                <c:pt idx="83">
                  <c:v>3.9183673469000001E-2</c:v>
                </c:pt>
                <c:pt idx="84">
                  <c:v>3.8043478259999999E-2</c:v>
                </c:pt>
                <c:pt idx="85">
                  <c:v>4.0849673202000003E-2</c:v>
                </c:pt>
                <c:pt idx="86">
                  <c:v>4.253509145E-2</c:v>
                </c:pt>
                <c:pt idx="87">
                  <c:v>4.1903099083000002E-2</c:v>
                </c:pt>
                <c:pt idx="88">
                  <c:v>4.0142729704999998E-2</c:v>
                </c:pt>
                <c:pt idx="89">
                  <c:v>4.1095890410000002E-2</c:v>
                </c:pt>
                <c:pt idx="90">
                  <c:v>4.7048379937E-2</c:v>
                </c:pt>
                <c:pt idx="91">
                  <c:v>4.6261682242000002E-2</c:v>
                </c:pt>
                <c:pt idx="92">
                  <c:v>4.6577946767999999E-2</c:v>
                </c:pt>
                <c:pt idx="93">
                  <c:v>5.2145823718999999E-2</c:v>
                </c:pt>
                <c:pt idx="94">
                  <c:v>5.2348993288000002E-2</c:v>
                </c:pt>
                <c:pt idx="95">
                  <c:v>5.2069425900999999E-2</c:v>
                </c:pt>
                <c:pt idx="96">
                  <c:v>5.3148727110000002E-2</c:v>
                </c:pt>
                <c:pt idx="97">
                  <c:v>4.8714479025E-2</c:v>
                </c:pt>
                <c:pt idx="98">
                  <c:v>5.0201703271999999E-2</c:v>
                </c:pt>
                <c:pt idx="99">
                  <c:v>4.7350130321000002E-2</c:v>
                </c:pt>
                <c:pt idx="100">
                  <c:v>4.2850896370000002E-2</c:v>
                </c:pt>
                <c:pt idx="101">
                  <c:v>4.2991491266999998E-2</c:v>
                </c:pt>
                <c:pt idx="102">
                  <c:v>4.3802014892000002E-2</c:v>
                </c:pt>
                <c:pt idx="103">
                  <c:v>4.3140638480999999E-2</c:v>
                </c:pt>
                <c:pt idx="104">
                  <c:v>4.5493562230999998E-2</c:v>
                </c:pt>
                <c:pt idx="105">
                  <c:v>4.1684035013999997E-2</c:v>
                </c:pt>
                <c:pt idx="106">
                  <c:v>4.4180118945999998E-2</c:v>
                </c:pt>
                <c:pt idx="107">
                  <c:v>4.3348916277000001E-2</c:v>
                </c:pt>
                <c:pt idx="108">
                  <c:v>3.8032244728999999E-2</c:v>
                </c:pt>
                <c:pt idx="109">
                  <c:v>3.7375415282000002E-2</c:v>
                </c:pt>
                <c:pt idx="110">
                  <c:v>3.7572254334999999E-2</c:v>
                </c:pt>
                <c:pt idx="111">
                  <c:v>3.4355828220000002E-2</c:v>
                </c:pt>
                <c:pt idx="112">
                  <c:v>3.9473684209999998E-2</c:v>
                </c:pt>
                <c:pt idx="113">
                  <c:v>3.8358266205999997E-2</c:v>
                </c:pt>
                <c:pt idx="114">
                  <c:v>3.9600000000000003E-2</c:v>
                </c:pt>
                <c:pt idx="115">
                  <c:v>4.4782251437000001E-2</c:v>
                </c:pt>
                <c:pt idx="116">
                  <c:v>4.5226130652999998E-2</c:v>
                </c:pt>
                <c:pt idx="117">
                  <c:v>4.5821114369E-2</c:v>
                </c:pt>
                <c:pt idx="118">
                  <c:v>4.8738922971999998E-2</c:v>
                </c:pt>
                <c:pt idx="119">
                  <c:v>4.8749198202999999E-2</c:v>
                </c:pt>
                <c:pt idx="120">
                  <c:v>4.9022649704999997E-2</c:v>
                </c:pt>
                <c:pt idx="121">
                  <c:v>4.8994619087999999E-2</c:v>
                </c:pt>
                <c:pt idx="122">
                  <c:v>4.8285322359000002E-2</c:v>
                </c:pt>
                <c:pt idx="123">
                  <c:v>4.7225186766000002E-2</c:v>
                </c:pt>
                <c:pt idx="124">
                  <c:v>4.6920052423999999E-2</c:v>
                </c:pt>
                <c:pt idx="125">
                  <c:v>4.5246568378E-2</c:v>
                </c:pt>
                <c:pt idx="126">
                  <c:v>4.3381259295000002E-2</c:v>
                </c:pt>
                <c:pt idx="127">
                  <c:v>4.2348411933999998E-2</c:v>
                </c:pt>
                <c:pt idx="128">
                  <c:v>3.9953271027999997E-2</c:v>
                </c:pt>
                <c:pt idx="129">
                  <c:v>3.9668310174E-2</c:v>
                </c:pt>
                <c:pt idx="130">
                  <c:v>3.9446837451E-2</c:v>
                </c:pt>
                <c:pt idx="131">
                  <c:v>4.0192926045000001E-2</c:v>
                </c:pt>
                <c:pt idx="132">
                  <c:v>3.8679245282999999E-2</c:v>
                </c:pt>
                <c:pt idx="133">
                  <c:v>3.7869533348999999E-2</c:v>
                </c:pt>
                <c:pt idx="134">
                  <c:v>3.7538304392000003E-2</c:v>
                </c:pt>
                <c:pt idx="135">
                  <c:v>4.0150902720999998E-2</c:v>
                </c:pt>
                <c:pt idx="136">
                  <c:v>4.0387275241999997E-2</c:v>
                </c:pt>
                <c:pt idx="137">
                  <c:v>4.0068201193000003E-2</c:v>
                </c:pt>
                <c:pt idx="138">
                  <c:v>3.7573964496999998E-2</c:v>
                </c:pt>
                <c:pt idx="139">
                  <c:v>4.1028781383E-2</c:v>
                </c:pt>
                <c:pt idx="140">
                  <c:v>4.4733502538E-2</c:v>
                </c:pt>
                <c:pt idx="141">
                  <c:v>4.5527412631999997E-2</c:v>
                </c:pt>
                <c:pt idx="142">
                  <c:v>4.3879907620999997E-2</c:v>
                </c:pt>
                <c:pt idx="143">
                  <c:v>4.3800539083000002E-2</c:v>
                </c:pt>
                <c:pt idx="144">
                  <c:v>4.4217687073999999E-2</c:v>
                </c:pt>
                <c:pt idx="145">
                  <c:v>4.5330606680000003E-2</c:v>
                </c:pt>
                <c:pt idx="146">
                  <c:v>4.4459881903000001E-2</c:v>
                </c:pt>
                <c:pt idx="147">
                  <c:v>4.2837078650999998E-2</c:v>
                </c:pt>
                <c:pt idx="148">
                  <c:v>3.8420490927999998E-2</c:v>
                </c:pt>
                <c:pt idx="149">
                  <c:v>3.8998211090999997E-2</c:v>
                </c:pt>
                <c:pt idx="150">
                  <c:v>4.0638606676E-2</c:v>
                </c:pt>
                <c:pt idx="151">
                  <c:v>4.0980607390999998E-2</c:v>
                </c:pt>
                <c:pt idx="152">
                  <c:v>4.1636230825000002E-2</c:v>
                </c:pt>
                <c:pt idx="153">
                  <c:v>4.1606886656999999E-2</c:v>
                </c:pt>
                <c:pt idx="154">
                  <c:v>3.7878787878000003E-2</c:v>
                </c:pt>
                <c:pt idx="155">
                  <c:v>4.1801801801000002E-2</c:v>
                </c:pt>
                <c:pt idx="156">
                  <c:v>4.3710021320999999E-2</c:v>
                </c:pt>
                <c:pt idx="157">
                  <c:v>4.3928571428000003E-2</c:v>
                </c:pt>
                <c:pt idx="158">
                  <c:v>4.4903777619000003E-2</c:v>
                </c:pt>
                <c:pt idx="159">
                  <c:v>4.3029871976999999E-2</c:v>
                </c:pt>
                <c:pt idx="160">
                  <c:v>4.2278753135E-2</c:v>
                </c:pt>
                <c:pt idx="161">
                  <c:v>4.5552367288000002E-2</c:v>
                </c:pt>
                <c:pt idx="162">
                  <c:v>4.8842257596999998E-2</c:v>
                </c:pt>
                <c:pt idx="163">
                  <c:v>4.5997826874000003E-2</c:v>
                </c:pt>
                <c:pt idx="164">
                  <c:v>4.2116630669000003E-2</c:v>
                </c:pt>
                <c:pt idx="165">
                  <c:v>3.9942425332000001E-2</c:v>
                </c:pt>
                <c:pt idx="166">
                  <c:v>3.9957939010999997E-2</c:v>
                </c:pt>
                <c:pt idx="167">
                  <c:v>4.0014164305000002E-2</c:v>
                </c:pt>
                <c:pt idx="168">
                  <c:v>4.1420118343000002E-2</c:v>
                </c:pt>
                <c:pt idx="169">
                  <c:v>4.3114973261999999E-2</c:v>
                </c:pt>
                <c:pt idx="170">
                  <c:v>4.2063752874999999E-2</c:v>
                </c:pt>
                <c:pt idx="171">
                  <c:v>4.3687761002000003E-2</c:v>
                </c:pt>
                <c:pt idx="172">
                  <c:v>4.5799115602999999E-2</c:v>
                </c:pt>
                <c:pt idx="173">
                  <c:v>4.8619824340999998E-2</c:v>
                </c:pt>
                <c:pt idx="174">
                  <c:v>4.6462192529000003E-2</c:v>
                </c:pt>
                <c:pt idx="175">
                  <c:v>4.4324648097999998E-2</c:v>
                </c:pt>
                <c:pt idx="176">
                  <c:v>4.1766109784999998E-2</c:v>
                </c:pt>
                <c:pt idx="177">
                  <c:v>4.3063583815000001E-2</c:v>
                </c:pt>
                <c:pt idx="178">
                  <c:v>4.1049030786000001E-2</c:v>
                </c:pt>
                <c:pt idx="179">
                  <c:v>3.9889196675000002E-2</c:v>
                </c:pt>
                <c:pt idx="180">
                  <c:v>3.8419319429000003E-2</c:v>
                </c:pt>
                <c:pt idx="181">
                  <c:v>4.0220820189000001E-2</c:v>
                </c:pt>
                <c:pt idx="182">
                  <c:v>4.1815400305E-2</c:v>
                </c:pt>
                <c:pt idx="183">
                  <c:v>4.0051020408000002E-2</c:v>
                </c:pt>
                <c:pt idx="184">
                  <c:v>3.9672382902000002E-2</c:v>
                </c:pt>
                <c:pt idx="185">
                  <c:v>4.2121289011999997E-2</c:v>
                </c:pt>
                <c:pt idx="186">
                  <c:v>4.0914866580999999E-2</c:v>
                </c:pt>
                <c:pt idx="187">
                  <c:v>3.9848675914000001E-2</c:v>
                </c:pt>
                <c:pt idx="188">
                  <c:v>3.9195461578000003E-2</c:v>
                </c:pt>
                <c:pt idx="189">
                  <c:v>3.5257247323E-2</c:v>
                </c:pt>
                <c:pt idx="190">
                  <c:v>3.5932721712000001E-2</c:v>
                </c:pt>
                <c:pt idx="191">
                  <c:v>3.6520415925999999E-2</c:v>
                </c:pt>
                <c:pt idx="192">
                  <c:v>3.3932641174000001E-2</c:v>
                </c:pt>
                <c:pt idx="193">
                  <c:v>3.6520415925999999E-2</c:v>
                </c:pt>
                <c:pt idx="194">
                  <c:v>3.6270753512000001E-2</c:v>
                </c:pt>
                <c:pt idx="195">
                  <c:v>3.3324788515000002E-2</c:v>
                </c:pt>
                <c:pt idx="196">
                  <c:v>3.5723530933999999E-2</c:v>
                </c:pt>
                <c:pt idx="197">
                  <c:v>3.2637774209999998E-2</c:v>
                </c:pt>
                <c:pt idx="198">
                  <c:v>3.1429352282E-2</c:v>
                </c:pt>
                <c:pt idx="199">
                  <c:v>3.2942490227999999E-2</c:v>
                </c:pt>
                <c:pt idx="200">
                  <c:v>3.0137772675000001E-2</c:v>
                </c:pt>
                <c:pt idx="201">
                  <c:v>3.0498533724E-2</c:v>
                </c:pt>
                <c:pt idx="202">
                  <c:v>3.4852546916000003E-2</c:v>
                </c:pt>
                <c:pt idx="203">
                  <c:v>3.3866995072999999E-2</c:v>
                </c:pt>
                <c:pt idx="204">
                  <c:v>3.7071651089999998E-2</c:v>
                </c:pt>
                <c:pt idx="205">
                  <c:v>3.6507936507000002E-2</c:v>
                </c:pt>
                <c:pt idx="206">
                  <c:v>3.5472428248000003E-2</c:v>
                </c:pt>
                <c:pt idx="207">
                  <c:v>3.6164029706000002E-2</c:v>
                </c:pt>
                <c:pt idx="208">
                  <c:v>3.6458333332999998E-2</c:v>
                </c:pt>
                <c:pt idx="209">
                  <c:v>3.3779264214000002E-2</c:v>
                </c:pt>
                <c:pt idx="210">
                  <c:v>3.3241946538E-2</c:v>
                </c:pt>
                <c:pt idx="211">
                  <c:v>3.2734952481000001E-2</c:v>
                </c:pt>
                <c:pt idx="212">
                  <c:v>3.3261026753000002E-2</c:v>
                </c:pt>
                <c:pt idx="213">
                  <c:v>3.3677765020999999E-2</c:v>
                </c:pt>
                <c:pt idx="214">
                  <c:v>3.2690035446999999E-2</c:v>
                </c:pt>
                <c:pt idx="215">
                  <c:v>3.0266343825E-2</c:v>
                </c:pt>
                <c:pt idx="216">
                  <c:v>3.1432420295999998E-2</c:v>
                </c:pt>
                <c:pt idx="217">
                  <c:v>3.1404217137E-2</c:v>
                </c:pt>
                <c:pt idx="218">
                  <c:v>3.2833020636999999E-2</c:v>
                </c:pt>
                <c:pt idx="219">
                  <c:v>3.8005922999999997E-2</c:v>
                </c:pt>
                <c:pt idx="220">
                  <c:v>3.8118811880999998E-2</c:v>
                </c:pt>
                <c:pt idx="221">
                  <c:v>4.1709577753999999E-2</c:v>
                </c:pt>
                <c:pt idx="222">
                  <c:v>4.6311254710999998E-2</c:v>
                </c:pt>
                <c:pt idx="223">
                  <c:v>4.8754636988999997E-2</c:v>
                </c:pt>
                <c:pt idx="224">
                  <c:v>5.4398148148000001E-2</c:v>
                </c:pt>
                <c:pt idx="225">
                  <c:v>5.1466187911000001E-2</c:v>
                </c:pt>
                <c:pt idx="226">
                  <c:v>4.4099378880999997E-2</c:v>
                </c:pt>
                <c:pt idx="227">
                  <c:v>4.6022353714E-2</c:v>
                </c:pt>
                <c:pt idx="228">
                  <c:v>4.5423728812999997E-2</c:v>
                </c:pt>
                <c:pt idx="229">
                  <c:v>4.1208791208000001E-2</c:v>
                </c:pt>
                <c:pt idx="230">
                  <c:v>4.3727598566000003E-2</c:v>
                </c:pt>
                <c:pt idx="231">
                  <c:v>3.9611360238999999E-2</c:v>
                </c:pt>
                <c:pt idx="232">
                  <c:v>4.1731066460000001E-2</c:v>
                </c:pt>
                <c:pt idx="233">
                  <c:v>4.8465266558E-2</c:v>
                </c:pt>
                <c:pt idx="234">
                  <c:v>5.3344623200000003E-2</c:v>
                </c:pt>
                <c:pt idx="235">
                  <c:v>5.5103884371999999E-2</c:v>
                </c:pt>
                <c:pt idx="236">
                  <c:v>6.1378659112000002E-2</c:v>
                </c:pt>
                <c:pt idx="237">
                  <c:v>5.5944055944000003E-2</c:v>
                </c:pt>
                <c:pt idx="238">
                  <c:v>5.4989816699999999E-2</c:v>
                </c:pt>
                <c:pt idx="239">
                  <c:v>5.7483731018999999E-2</c:v>
                </c:pt>
                <c:pt idx="240">
                  <c:v>5.3145336224999999E-2</c:v>
                </c:pt>
                <c:pt idx="241">
                  <c:v>4.6697038724000002E-2</c:v>
                </c:pt>
                <c:pt idx="242">
                  <c:v>4.0770101925000003E-2</c:v>
                </c:pt>
                <c:pt idx="243">
                  <c:v>3.4482758619999998E-2</c:v>
                </c:pt>
                <c:pt idx="244">
                  <c:v>3.6299765806999999E-2</c:v>
                </c:pt>
                <c:pt idx="245">
                  <c:v>4.3804755943999997E-2</c:v>
                </c:pt>
                <c:pt idx="246">
                  <c:v>4.2384105960000001E-2</c:v>
                </c:pt>
                <c:pt idx="247">
                  <c:v>4.4096728306999997E-2</c:v>
                </c:pt>
                <c:pt idx="248">
                  <c:v>4.8780487804000003E-2</c:v>
                </c:pt>
                <c:pt idx="249">
                  <c:v>5.4628224582E-2</c:v>
                </c:pt>
                <c:pt idx="250">
                  <c:v>5.8544303797E-2</c:v>
                </c:pt>
                <c:pt idx="251">
                  <c:v>6.0402684562999999E-2</c:v>
                </c:pt>
                <c:pt idx="252">
                  <c:v>6.0283687943E-2</c:v>
                </c:pt>
                <c:pt idx="253">
                  <c:v>6.1224489795000003E-2</c:v>
                </c:pt>
                <c:pt idx="254">
                  <c:v>5.7199211044999997E-2</c:v>
                </c:pt>
                <c:pt idx="255">
                  <c:v>5.3995680344999998E-2</c:v>
                </c:pt>
                <c:pt idx="256">
                  <c:v>4.9661399548000001E-2</c:v>
                </c:pt>
                <c:pt idx="257">
                  <c:v>4.5454545454000003E-2</c:v>
                </c:pt>
                <c:pt idx="258">
                  <c:v>4.0322580645000002E-2</c:v>
                </c:pt>
                <c:pt idx="259">
                  <c:v>3.4782608695000002E-2</c:v>
                </c:pt>
                <c:pt idx="260">
                  <c:v>3.2154340836000002E-2</c:v>
                </c:pt>
                <c:pt idx="261">
                  <c:v>3.1358885017000002E-2</c:v>
                </c:pt>
                <c:pt idx="262">
                  <c:v>3.7037037037000002E-2</c:v>
                </c:pt>
                <c:pt idx="263">
                  <c:v>3.7453183520000002E-2</c:v>
                </c:pt>
                <c:pt idx="264">
                  <c:v>4.0650406504000001E-2</c:v>
                </c:pt>
                <c:pt idx="265">
                  <c:v>3.6036036036000002E-2</c:v>
                </c:pt>
                <c:pt idx="266">
                  <c:v>3.7209302324999999E-2</c:v>
                </c:pt>
                <c:pt idx="267">
                  <c:v>4.2253521125999997E-2</c:v>
                </c:pt>
                <c:pt idx="268">
                  <c:v>4.6153846153E-2</c:v>
                </c:pt>
                <c:pt idx="269">
                  <c:v>3.2967032967000001E-2</c:v>
                </c:pt>
                <c:pt idx="270">
                  <c:v>3.5714285714000003E-2</c:v>
                </c:pt>
                <c:pt idx="271">
                  <c:v>5.3254437868999999E-2</c:v>
                </c:pt>
                <c:pt idx="272">
                  <c:v>6.0975609755999999E-2</c:v>
                </c:pt>
                <c:pt idx="273">
                  <c:v>7.0921985815000005E-2</c:v>
                </c:pt>
                <c:pt idx="274">
                  <c:v>6.4000000000000001E-2</c:v>
                </c:pt>
                <c:pt idx="275">
                  <c:v>7.9646017698999996E-2</c:v>
                </c:pt>
                <c:pt idx="276">
                  <c:v>9.6153846153000003E-2</c:v>
                </c:pt>
                <c:pt idx="277">
                  <c:v>9.0909090908999998E-2</c:v>
                </c:pt>
                <c:pt idx="278">
                  <c:v>5.4347826086000001E-2</c:v>
                </c:pt>
                <c:pt idx="279">
                  <c:v>0.05</c:v>
                </c:pt>
                <c:pt idx="280">
                  <c:v>3.8961038960999998E-2</c:v>
                </c:pt>
                <c:pt idx="281">
                  <c:v>3.1746031745999999E-2</c:v>
                </c:pt>
                <c:pt idx="282">
                  <c:v>3.3898305083999998E-2</c:v>
                </c:pt>
                <c:pt idx="283">
                  <c:v>0.02</c:v>
                </c:pt>
                <c:pt idx="284">
                  <c:v>4.1666666666000003E-2</c:v>
                </c:pt>
                <c:pt idx="285">
                  <c:v>4.5454545454000003E-2</c:v>
                </c:pt>
                <c:pt idx="286">
                  <c:v>5.2631578946999998E-2</c:v>
                </c:pt>
                <c:pt idx="287">
                  <c:v>6.25E-2</c:v>
                </c:pt>
                <c:pt idx="288">
                  <c:v>7.1428571428000007E-2</c:v>
                </c:pt>
                <c:pt idx="289">
                  <c:v>2.6315789472999999E-2</c:v>
                </c:pt>
                <c:pt idx="290">
                  <c:v>5.7142857142E-2</c:v>
                </c:pt>
                <c:pt idx="291">
                  <c:v>2.7027027027000002E-2</c:v>
                </c:pt>
                <c:pt idx="292">
                  <c:v>5.5555555554999997E-2</c:v>
                </c:pt>
                <c:pt idx="293">
                  <c:v>5.4054054054000003E-2</c:v>
                </c:pt>
                <c:pt idx="294">
                  <c:v>5.2631578946999998E-2</c:v>
                </c:pt>
                <c:pt idx="295">
                  <c:v>5.2631578946999998E-2</c:v>
                </c:pt>
                <c:pt idx="296">
                  <c:v>8.3333333332999998E-2</c:v>
                </c:pt>
                <c:pt idx="297">
                  <c:v>4.3478260869000002E-2</c:v>
                </c:pt>
                <c:pt idx="298">
                  <c:v>5.2631578946999998E-2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9">
                  <c:v>0.111111111111</c:v>
                </c:pt>
                <c:pt idx="310">
                  <c:v>0.111111111111</c:v>
                </c:pt>
                <c:pt idx="311">
                  <c:v>0.111111111111</c:v>
                </c:pt>
                <c:pt idx="312">
                  <c:v>0.2</c:v>
                </c:pt>
                <c:pt idx="313">
                  <c:v>0.181818181818</c:v>
                </c:pt>
                <c:pt idx="314">
                  <c:v>0.14285714285699999</c:v>
                </c:pt>
                <c:pt idx="316">
                  <c:v>0.13333333333299999</c:v>
                </c:pt>
                <c:pt idx="317">
                  <c:v>8.3333333332999998E-2</c:v>
                </c:pt>
                <c:pt idx="318">
                  <c:v>0.15384615384600001</c:v>
                </c:pt>
                <c:pt idx="319">
                  <c:v>0.181818181818</c:v>
                </c:pt>
                <c:pt idx="320">
                  <c:v>0.1</c:v>
                </c:pt>
                <c:pt idx="321">
                  <c:v>0.14285714285699999</c:v>
                </c:pt>
                <c:pt idx="322">
                  <c:v>0.15384615384600001</c:v>
                </c:pt>
                <c:pt idx="323">
                  <c:v>0.15384615384600001</c:v>
                </c:pt>
                <c:pt idx="324">
                  <c:v>0.14285714285699999</c:v>
                </c:pt>
                <c:pt idx="325">
                  <c:v>0.166666666666</c:v>
                </c:pt>
                <c:pt idx="326">
                  <c:v>0.14285714285699999</c:v>
                </c:pt>
                <c:pt idx="327">
                  <c:v>0.13333333333299999</c:v>
                </c:pt>
                <c:pt idx="328">
                  <c:v>0.125</c:v>
                </c:pt>
                <c:pt idx="329">
                  <c:v>0.14285714285699999</c:v>
                </c:pt>
                <c:pt idx="330">
                  <c:v>0.176470588235</c:v>
                </c:pt>
                <c:pt idx="331">
                  <c:v>0.2</c:v>
                </c:pt>
                <c:pt idx="332">
                  <c:v>0.210526315789</c:v>
                </c:pt>
                <c:pt idx="333">
                  <c:v>0.23529411764700001</c:v>
                </c:pt>
                <c:pt idx="334">
                  <c:v>0.25</c:v>
                </c:pt>
                <c:pt idx="335">
                  <c:v>0.1875</c:v>
                </c:pt>
                <c:pt idx="336">
                  <c:v>0.1875</c:v>
                </c:pt>
                <c:pt idx="337">
                  <c:v>0.166666666666</c:v>
                </c:pt>
                <c:pt idx="338">
                  <c:v>0.15384615384600001</c:v>
                </c:pt>
                <c:pt idx="339">
                  <c:v>0.117647058823</c:v>
                </c:pt>
                <c:pt idx="340">
                  <c:v>0.1</c:v>
                </c:pt>
                <c:pt idx="341">
                  <c:v>9.5238095238000003E-2</c:v>
                </c:pt>
                <c:pt idx="342">
                  <c:v>0.111111111111</c:v>
                </c:pt>
                <c:pt idx="343">
                  <c:v>9.5238095238000003E-2</c:v>
                </c:pt>
                <c:pt idx="344">
                  <c:v>0.117647058823</c:v>
                </c:pt>
                <c:pt idx="345">
                  <c:v>0.105263157894</c:v>
                </c:pt>
                <c:pt idx="346">
                  <c:v>6.25E-2</c:v>
                </c:pt>
                <c:pt idx="347">
                  <c:v>5.8823529410999997E-2</c:v>
                </c:pt>
                <c:pt idx="348">
                  <c:v>0.111111111111</c:v>
                </c:pt>
                <c:pt idx="349">
                  <c:v>0.105263157894</c:v>
                </c:pt>
                <c:pt idx="350">
                  <c:v>0.1</c:v>
                </c:pt>
                <c:pt idx="351">
                  <c:v>4.7619047619000002E-2</c:v>
                </c:pt>
                <c:pt idx="352">
                  <c:v>0.13043478260800001</c:v>
                </c:pt>
                <c:pt idx="353">
                  <c:v>0.166666666666</c:v>
                </c:pt>
                <c:pt idx="354">
                  <c:v>0.181818181818</c:v>
                </c:pt>
                <c:pt idx="355">
                  <c:v>0.13043478260800001</c:v>
                </c:pt>
                <c:pt idx="356">
                  <c:v>0.16</c:v>
                </c:pt>
                <c:pt idx="357">
                  <c:v>0.18518518518499999</c:v>
                </c:pt>
                <c:pt idx="358">
                  <c:v>0.2</c:v>
                </c:pt>
                <c:pt idx="359">
                  <c:v>0.137931034482</c:v>
                </c:pt>
                <c:pt idx="360">
                  <c:v>0.10344827586200001</c:v>
                </c:pt>
                <c:pt idx="361">
                  <c:v>0.10344827586200001</c:v>
                </c:pt>
                <c:pt idx="362">
                  <c:v>0.10344827586200001</c:v>
                </c:pt>
                <c:pt idx="363">
                  <c:v>8.3333333332999998E-2</c:v>
                </c:pt>
                <c:pt idx="364">
                  <c:v>4.5454545454000003E-2</c:v>
                </c:pt>
                <c:pt idx="365">
                  <c:v>0.04</c:v>
                </c:pt>
                <c:pt idx="366">
                  <c:v>3.8461538460999999E-2</c:v>
                </c:pt>
                <c:pt idx="367">
                  <c:v>0.12121212121200001</c:v>
                </c:pt>
                <c:pt idx="368">
                  <c:v>0.117647058823</c:v>
                </c:pt>
                <c:pt idx="369">
                  <c:v>0.166666666666</c:v>
                </c:pt>
                <c:pt idx="370">
                  <c:v>0.127659574468</c:v>
                </c:pt>
                <c:pt idx="371">
                  <c:v>0.13725490196000001</c:v>
                </c:pt>
                <c:pt idx="372">
                  <c:v>0.127659574468</c:v>
                </c:pt>
                <c:pt idx="373">
                  <c:v>0.11538461538399999</c:v>
                </c:pt>
                <c:pt idx="374">
                  <c:v>8.1632653060999996E-2</c:v>
                </c:pt>
                <c:pt idx="375">
                  <c:v>7.8431372548999997E-2</c:v>
                </c:pt>
                <c:pt idx="376">
                  <c:v>5.7692307691999997E-2</c:v>
                </c:pt>
                <c:pt idx="377">
                  <c:v>0.13207547169799999</c:v>
                </c:pt>
                <c:pt idx="378">
                  <c:v>0.107142857142</c:v>
                </c:pt>
                <c:pt idx="379">
                  <c:v>9.8360655736999994E-2</c:v>
                </c:pt>
                <c:pt idx="380">
                  <c:v>0.101694915254</c:v>
                </c:pt>
                <c:pt idx="381">
                  <c:v>0.08</c:v>
                </c:pt>
                <c:pt idx="382">
                  <c:v>0.08</c:v>
                </c:pt>
                <c:pt idx="383">
                  <c:v>8.2191780820999996E-2</c:v>
                </c:pt>
                <c:pt idx="384">
                  <c:v>2.6666666666E-2</c:v>
                </c:pt>
                <c:pt idx="385">
                  <c:v>2.6666666666E-2</c:v>
                </c:pt>
                <c:pt idx="386">
                  <c:v>2.7027027027000002E-2</c:v>
                </c:pt>
                <c:pt idx="387">
                  <c:v>3.8461538460999999E-2</c:v>
                </c:pt>
                <c:pt idx="388">
                  <c:v>2.9411764704999999E-2</c:v>
                </c:pt>
                <c:pt idx="389">
                  <c:v>5.4794520547E-2</c:v>
                </c:pt>
                <c:pt idx="390">
                  <c:v>5.3333333332999999E-2</c:v>
                </c:pt>
                <c:pt idx="391">
                  <c:v>6.4102564102000006E-2</c:v>
                </c:pt>
                <c:pt idx="392">
                  <c:v>9.3333333332999993E-2</c:v>
                </c:pt>
                <c:pt idx="393">
                  <c:v>9.6385542167999994E-2</c:v>
                </c:pt>
                <c:pt idx="394">
                  <c:v>0.112359550561</c:v>
                </c:pt>
                <c:pt idx="395">
                  <c:v>0.12790697674400001</c:v>
                </c:pt>
                <c:pt idx="396">
                  <c:v>0.117647058823</c:v>
                </c:pt>
                <c:pt idx="397">
                  <c:v>0.13978494623599999</c:v>
                </c:pt>
                <c:pt idx="398">
                  <c:v>0.11428571428500001</c:v>
                </c:pt>
                <c:pt idx="399">
                  <c:v>0.13675213675199999</c:v>
                </c:pt>
                <c:pt idx="400">
                  <c:v>0.16541353383400001</c:v>
                </c:pt>
                <c:pt idx="401">
                  <c:v>0.15942028985500001</c:v>
                </c:pt>
                <c:pt idx="402">
                  <c:v>0.145695364238</c:v>
                </c:pt>
                <c:pt idx="403">
                  <c:v>0.14374999999999999</c:v>
                </c:pt>
                <c:pt idx="404">
                  <c:v>0.12048192771000001</c:v>
                </c:pt>
                <c:pt idx="405">
                  <c:v>0.135135135135</c:v>
                </c:pt>
                <c:pt idx="406">
                  <c:v>0.108374384236</c:v>
                </c:pt>
                <c:pt idx="407">
                  <c:v>9.1346153846000006E-2</c:v>
                </c:pt>
                <c:pt idx="408">
                  <c:v>9.9547511312E-2</c:v>
                </c:pt>
                <c:pt idx="409">
                  <c:v>9.2741935482999999E-2</c:v>
                </c:pt>
                <c:pt idx="410">
                  <c:v>8.1481481480999998E-2</c:v>
                </c:pt>
                <c:pt idx="411">
                  <c:v>7.7490774907000001E-2</c:v>
                </c:pt>
                <c:pt idx="412">
                  <c:v>6.6666666666000005E-2</c:v>
                </c:pt>
                <c:pt idx="413">
                  <c:v>5.3191489361000002E-2</c:v>
                </c:pt>
                <c:pt idx="414">
                  <c:v>4.7381546134000002E-2</c:v>
                </c:pt>
                <c:pt idx="415">
                  <c:v>3.3259423502999999E-2</c:v>
                </c:pt>
                <c:pt idx="416">
                  <c:v>3.3864541832000002E-2</c:v>
                </c:pt>
                <c:pt idx="417">
                  <c:v>3.9923954371999998E-2</c:v>
                </c:pt>
                <c:pt idx="418">
                  <c:v>5.4577464787999998E-2</c:v>
                </c:pt>
                <c:pt idx="419">
                  <c:v>4.9520766772999998E-2</c:v>
                </c:pt>
                <c:pt idx="420">
                  <c:v>4.4755244755E-2</c:v>
                </c:pt>
                <c:pt idx="421">
                  <c:v>4.7500000000000001E-2</c:v>
                </c:pt>
                <c:pt idx="422">
                  <c:v>4.5735475896000001E-2</c:v>
                </c:pt>
                <c:pt idx="423">
                  <c:v>4.2792792792000003E-2</c:v>
                </c:pt>
                <c:pt idx="424">
                  <c:v>4.1577825158999999E-2</c:v>
                </c:pt>
                <c:pt idx="425">
                  <c:v>3.5105315946999997E-2</c:v>
                </c:pt>
                <c:pt idx="426">
                  <c:v>3.8732394365999998E-2</c:v>
                </c:pt>
                <c:pt idx="427">
                  <c:v>4.6128500822999997E-2</c:v>
                </c:pt>
                <c:pt idx="428">
                  <c:v>4.0060468630999997E-2</c:v>
                </c:pt>
                <c:pt idx="429">
                  <c:v>4.1750841750000003E-2</c:v>
                </c:pt>
                <c:pt idx="430">
                  <c:v>4.7120418848000001E-2</c:v>
                </c:pt>
                <c:pt idx="431">
                  <c:v>4.9180327868000001E-2</c:v>
                </c:pt>
                <c:pt idx="432">
                  <c:v>4.9270072992000001E-2</c:v>
                </c:pt>
                <c:pt idx="433">
                  <c:v>4.7785547785E-2</c:v>
                </c:pt>
                <c:pt idx="434">
                  <c:v>4.4833242208000001E-2</c:v>
                </c:pt>
                <c:pt idx="435">
                  <c:v>4.8988285409999999E-2</c:v>
                </c:pt>
                <c:pt idx="436">
                  <c:v>4.8403707518000001E-2</c:v>
                </c:pt>
                <c:pt idx="437">
                  <c:v>4.4089147285999997E-2</c:v>
                </c:pt>
                <c:pt idx="438">
                  <c:v>4.2775665398999997E-2</c:v>
                </c:pt>
                <c:pt idx="439">
                  <c:v>4.2662916080000002E-2</c:v>
                </c:pt>
                <c:pt idx="440">
                  <c:v>3.8817820907999998E-2</c:v>
                </c:pt>
                <c:pt idx="441">
                  <c:v>3.6402569592999999E-2</c:v>
                </c:pt>
                <c:pt idx="442">
                  <c:v>3.9638087030999997E-2</c:v>
                </c:pt>
                <c:pt idx="443">
                  <c:v>4.0066088393E-2</c:v>
                </c:pt>
                <c:pt idx="444">
                  <c:v>4.0125885128999998E-2</c:v>
                </c:pt>
                <c:pt idx="445">
                  <c:v>4.2440318301999999E-2</c:v>
                </c:pt>
                <c:pt idx="446">
                  <c:v>4.5901639344000003E-2</c:v>
                </c:pt>
                <c:pt idx="447">
                  <c:v>5.0660007134999997E-2</c:v>
                </c:pt>
                <c:pt idx="448">
                  <c:v>5.1282051282000002E-2</c:v>
                </c:pt>
                <c:pt idx="449">
                  <c:v>4.5424403182999999E-2</c:v>
                </c:pt>
                <c:pt idx="450">
                  <c:v>4.5080618624E-2</c:v>
                </c:pt>
                <c:pt idx="451">
                  <c:v>4.6366326866E-2</c:v>
                </c:pt>
                <c:pt idx="452">
                  <c:v>4.2636930141E-2</c:v>
                </c:pt>
                <c:pt idx="453">
                  <c:v>3.9209225700000003E-2</c:v>
                </c:pt>
                <c:pt idx="454">
                  <c:v>3.7591483698999999E-2</c:v>
                </c:pt>
                <c:pt idx="455">
                  <c:v>3.8539553752000001E-2</c:v>
                </c:pt>
                <c:pt idx="456">
                  <c:v>4.0149710785000001E-2</c:v>
                </c:pt>
                <c:pt idx="457">
                  <c:v>3.8513513513000003E-2</c:v>
                </c:pt>
                <c:pt idx="458">
                  <c:v>3.8700760192999999E-2</c:v>
                </c:pt>
                <c:pt idx="459">
                  <c:v>3.9422738472E-2</c:v>
                </c:pt>
                <c:pt idx="460">
                  <c:v>3.7889518412999999E-2</c:v>
                </c:pt>
                <c:pt idx="461">
                  <c:v>3.7593984961999997E-2</c:v>
                </c:pt>
                <c:pt idx="462">
                  <c:v>3.6039315617000002E-2</c:v>
                </c:pt>
                <c:pt idx="463">
                  <c:v>3.4660766960999997E-2</c:v>
                </c:pt>
                <c:pt idx="464">
                  <c:v>3.4906022246999999E-2</c:v>
                </c:pt>
                <c:pt idx="465">
                  <c:v>3.1538461538000002E-2</c:v>
                </c:pt>
                <c:pt idx="466">
                  <c:v>3.2774092859000001E-2</c:v>
                </c:pt>
                <c:pt idx="467">
                  <c:v>3.4786085564999999E-2</c:v>
                </c:pt>
                <c:pt idx="468">
                  <c:v>3.4382767191000002E-2</c:v>
                </c:pt>
                <c:pt idx="469">
                  <c:v>3.9608177171999999E-2</c:v>
                </c:pt>
                <c:pt idx="470">
                  <c:v>3.8686459739E-2</c:v>
                </c:pt>
                <c:pt idx="471">
                  <c:v>3.9631336405000002E-2</c:v>
                </c:pt>
                <c:pt idx="472">
                  <c:v>4.1003376748000003E-2</c:v>
                </c:pt>
                <c:pt idx="473">
                  <c:v>4.0378863409000001E-2</c:v>
                </c:pt>
                <c:pt idx="474">
                  <c:v>4.0763673889999998E-2</c:v>
                </c:pt>
                <c:pt idx="475">
                  <c:v>4.3526785714000003E-2</c:v>
                </c:pt>
                <c:pt idx="476">
                  <c:v>4.0445486518E-2</c:v>
                </c:pt>
                <c:pt idx="477">
                  <c:v>4.4188861985000001E-2</c:v>
                </c:pt>
                <c:pt idx="478">
                  <c:v>5.0098879366999999E-2</c:v>
                </c:pt>
                <c:pt idx="479">
                  <c:v>5.4216867469E-2</c:v>
                </c:pt>
                <c:pt idx="480">
                  <c:v>5.3738317756999998E-2</c:v>
                </c:pt>
                <c:pt idx="481">
                  <c:v>5.5292259082999999E-2</c:v>
                </c:pt>
                <c:pt idx="482">
                  <c:v>5.3772070626E-2</c:v>
                </c:pt>
                <c:pt idx="483">
                  <c:v>6.1293031066000002E-2</c:v>
                </c:pt>
                <c:pt idx="484">
                  <c:v>6.5630397236000004E-2</c:v>
                </c:pt>
                <c:pt idx="485">
                  <c:v>6.2062937062000001E-2</c:v>
                </c:pt>
                <c:pt idx="486">
                  <c:v>6.0528559248999997E-2</c:v>
                </c:pt>
                <c:pt idx="487">
                  <c:v>6.7885117492999997E-2</c:v>
                </c:pt>
                <c:pt idx="488">
                  <c:v>6.5777777777000002E-2</c:v>
                </c:pt>
                <c:pt idx="489">
                  <c:v>6.3688212926999999E-2</c:v>
                </c:pt>
                <c:pt idx="490">
                  <c:v>5.2427184465999997E-2</c:v>
                </c:pt>
                <c:pt idx="491">
                  <c:v>4.5592705167000001E-2</c:v>
                </c:pt>
                <c:pt idx="492">
                  <c:v>4.7219307449999998E-2</c:v>
                </c:pt>
                <c:pt idx="493">
                  <c:v>5.2972972972000001E-2</c:v>
                </c:pt>
                <c:pt idx="494">
                  <c:v>4.6637744033999999E-2</c:v>
                </c:pt>
                <c:pt idx="495">
                  <c:v>4.8054919908000003E-2</c:v>
                </c:pt>
                <c:pt idx="496">
                  <c:v>6.1124694376000002E-2</c:v>
                </c:pt>
                <c:pt idx="497">
                  <c:v>6.6319895968000003E-2</c:v>
                </c:pt>
                <c:pt idx="498">
                  <c:v>7.2649572649000002E-2</c:v>
                </c:pt>
                <c:pt idx="499">
                  <c:v>7.2916666665999996E-2</c:v>
                </c:pt>
                <c:pt idx="500">
                  <c:v>7.1202531644999997E-2</c:v>
                </c:pt>
                <c:pt idx="501">
                  <c:v>7.1672354948000006E-2</c:v>
                </c:pt>
                <c:pt idx="502">
                  <c:v>6.8181818180999998E-2</c:v>
                </c:pt>
                <c:pt idx="503">
                  <c:v>5.6798623063000001E-2</c:v>
                </c:pt>
                <c:pt idx="504">
                  <c:v>5.1693404633999997E-2</c:v>
                </c:pt>
                <c:pt idx="505">
                  <c:v>5.4607508531999999E-2</c:v>
                </c:pt>
                <c:pt idx="506">
                  <c:v>5.4098360654999997E-2</c:v>
                </c:pt>
                <c:pt idx="507">
                  <c:v>5.4652880353999997E-2</c:v>
                </c:pt>
                <c:pt idx="508">
                  <c:v>5.6241426610999998E-2</c:v>
                </c:pt>
                <c:pt idx="509">
                  <c:v>6.7003792667000003E-2</c:v>
                </c:pt>
                <c:pt idx="510">
                  <c:v>6.5819861431000007E-2</c:v>
                </c:pt>
                <c:pt idx="511">
                  <c:v>6.0165975103000001E-2</c:v>
                </c:pt>
                <c:pt idx="512">
                  <c:v>5.2728954671E-2</c:v>
                </c:pt>
                <c:pt idx="513">
                  <c:v>4.8400328137000001E-2</c:v>
                </c:pt>
                <c:pt idx="514">
                  <c:v>4.6037735848999999E-2</c:v>
                </c:pt>
                <c:pt idx="515">
                  <c:v>4.6142754144999999E-2</c:v>
                </c:pt>
                <c:pt idx="516">
                  <c:v>4.0410958903999997E-2</c:v>
                </c:pt>
                <c:pt idx="517">
                  <c:v>4.1301627032999999E-2</c:v>
                </c:pt>
                <c:pt idx="518">
                  <c:v>4.3968432919000003E-2</c:v>
                </c:pt>
                <c:pt idx="519">
                  <c:v>4.3613707165000001E-2</c:v>
                </c:pt>
                <c:pt idx="520">
                  <c:v>4.4926804644E-2</c:v>
                </c:pt>
                <c:pt idx="521">
                  <c:v>4.3436293436000001E-2</c:v>
                </c:pt>
                <c:pt idx="522">
                  <c:v>4.5475855602000001E-2</c:v>
                </c:pt>
                <c:pt idx="523">
                  <c:v>4.3579044969000003E-2</c:v>
                </c:pt>
                <c:pt idx="524">
                  <c:v>3.8294168842000001E-2</c:v>
                </c:pt>
                <c:pt idx="525">
                  <c:v>3.5683576956000003E-2</c:v>
                </c:pt>
                <c:pt idx="526">
                  <c:v>3.9273648648000002E-2</c:v>
                </c:pt>
                <c:pt idx="527">
                  <c:v>3.9030402628999997E-2</c:v>
                </c:pt>
                <c:pt idx="528">
                  <c:v>4.0874140024E-2</c:v>
                </c:pt>
                <c:pt idx="529">
                  <c:v>3.6311709506000003E-2</c:v>
                </c:pt>
                <c:pt idx="530">
                  <c:v>3.6356209149999999E-2</c:v>
                </c:pt>
                <c:pt idx="531">
                  <c:v>4.0362438219999998E-2</c:v>
                </c:pt>
                <c:pt idx="532">
                  <c:v>4.1858518208000003E-2</c:v>
                </c:pt>
                <c:pt idx="533">
                  <c:v>3.7784456847999998E-2</c:v>
                </c:pt>
                <c:pt idx="534">
                  <c:v>3.7248028044999999E-2</c:v>
                </c:pt>
                <c:pt idx="535">
                  <c:v>3.4802784221999998E-2</c:v>
                </c:pt>
                <c:pt idx="536">
                  <c:v>3.5748331744000002E-2</c:v>
                </c:pt>
                <c:pt idx="537">
                  <c:v>4.0110650068999998E-2</c:v>
                </c:pt>
                <c:pt idx="538">
                  <c:v>3.8589804668000001E-2</c:v>
                </c:pt>
                <c:pt idx="539">
                  <c:v>3.955078125E-2</c:v>
                </c:pt>
                <c:pt idx="540">
                  <c:v>4.7572339381999999E-2</c:v>
                </c:pt>
                <c:pt idx="541">
                  <c:v>4.9079754601000003E-2</c:v>
                </c:pt>
                <c:pt idx="542">
                  <c:v>5.0883770755000002E-2</c:v>
                </c:pt>
                <c:pt idx="543">
                  <c:v>5.1919956732999997E-2</c:v>
                </c:pt>
                <c:pt idx="544">
                  <c:v>5.1962410170999999E-2</c:v>
                </c:pt>
                <c:pt idx="545">
                  <c:v>4.8780487804000003E-2</c:v>
                </c:pt>
                <c:pt idx="546">
                  <c:v>0.05</c:v>
                </c:pt>
                <c:pt idx="547">
                  <c:v>4.4195250658999999E-2</c:v>
                </c:pt>
                <c:pt idx="548">
                  <c:v>4.3115438107999997E-2</c:v>
                </c:pt>
                <c:pt idx="549">
                  <c:v>3.9625360229999997E-2</c:v>
                </c:pt>
                <c:pt idx="550">
                  <c:v>3.408210689300000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37A-4746-9CFE-A5D4DF73D9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PROC_HOSP_JIP_v_den_pozitivity65_7dni_z_HOSP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53</c:f>
              <c:numCache>
                <c:formatCode>m/d/yyyy</c:formatCode>
                <c:ptCount val="55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</c:numCache>
            </c:numRef>
          </c:cat>
          <c:val>
            <c:numRef>
              <c:f>Sheet1!$B$2:$B$553</c:f>
              <c:numCache>
                <c:formatCode>0.0%</c:formatCode>
                <c:ptCount val="55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5.3214285715100003</c:v>
                </c:pt>
                <c:pt idx="4">
                  <c:v>4.1134020618599996</c:v>
                </c:pt>
                <c:pt idx="5">
                  <c:v>2.4439252336899999</c:v>
                </c:pt>
                <c:pt idx="6">
                  <c:v>0.60040983605999998</c:v>
                </c:pt>
                <c:pt idx="7">
                  <c:v>0.14285714286000001</c:v>
                </c:pt>
                <c:pt idx="8">
                  <c:v>0.37959183673000002</c:v>
                </c:pt>
                <c:pt idx="9">
                  <c:v>-0.11711711711</c:v>
                </c:pt>
                <c:pt idx="10">
                  <c:v>-0.13905325444</c:v>
                </c:pt>
                <c:pt idx="11">
                  <c:v>-8.4491978610000004E-2</c:v>
                </c:pt>
                <c:pt idx="12">
                  <c:v>-0.12768130745</c:v>
                </c:pt>
                <c:pt idx="13">
                  <c:v>0.13936170211000001</c:v>
                </c:pt>
                <c:pt idx="14">
                  <c:v>6.9646569640000003E-2</c:v>
                </c:pt>
                <c:pt idx="15">
                  <c:v>-0.13423645318999999</c:v>
                </c:pt>
                <c:pt idx="16">
                  <c:v>0.18546576880999999</c:v>
                </c:pt>
                <c:pt idx="17">
                  <c:v>-0.18530351437000001</c:v>
                </c:pt>
                <c:pt idx="18">
                  <c:v>-6.2368310150000002E-2</c:v>
                </c:pt>
                <c:pt idx="19">
                  <c:v>-5.4801407730000001E-2</c:v>
                </c:pt>
                <c:pt idx="20">
                  <c:v>-0.14657738095</c:v>
                </c:pt>
                <c:pt idx="21">
                  <c:v>7.3790002640000005E-2</c:v>
                </c:pt>
                <c:pt idx="22">
                  <c:v>9.4930875570000003E-2</c:v>
                </c:pt>
                <c:pt idx="23">
                  <c:v>0.25919540229999999</c:v>
                </c:pt>
                <c:pt idx="24">
                  <c:v>0.40473572939000002</c:v>
                </c:pt>
                <c:pt idx="25">
                  <c:v>0.17</c:v>
                </c:pt>
                <c:pt idx="26">
                  <c:v>0.16055017578</c:v>
                </c:pt>
                <c:pt idx="27">
                  <c:v>0.13714285713999999</c:v>
                </c:pt>
                <c:pt idx="28">
                  <c:v>-8.976510067E-2</c:v>
                </c:pt>
                <c:pt idx="29">
                  <c:v>-0.23280423279000001</c:v>
                </c:pt>
                <c:pt idx="30">
                  <c:v>-0.30050280981999999</c:v>
                </c:pt>
                <c:pt idx="31">
                  <c:v>-0.31034482758999998</c:v>
                </c:pt>
                <c:pt idx="32">
                  <c:v>-0.13382840046</c:v>
                </c:pt>
                <c:pt idx="33">
                  <c:v>-0.12561576355000001</c:v>
                </c:pt>
                <c:pt idx="34">
                  <c:v>-1.4040296920000001E-2</c:v>
                </c:pt>
                <c:pt idx="35">
                  <c:v>0.19234543670000001</c:v>
                </c:pt>
                <c:pt idx="36">
                  <c:v>0.31604278074999997</c:v>
                </c:pt>
                <c:pt idx="37">
                  <c:v>0.24582338902</c:v>
                </c:pt>
                <c:pt idx="38">
                  <c:v>7.1528751759999995E-2</c:v>
                </c:pt>
                <c:pt idx="39">
                  <c:v>-4.2406926230000003E-2</c:v>
                </c:pt>
                <c:pt idx="40">
                  <c:v>-2.6169966239999998E-2</c:v>
                </c:pt>
                <c:pt idx="41">
                  <c:v>-0.14307376506</c:v>
                </c:pt>
                <c:pt idx="42">
                  <c:v>-0.25268258913000002</c:v>
                </c:pt>
                <c:pt idx="43">
                  <c:v>-0.23869120297999999</c:v>
                </c:pt>
                <c:pt idx="44">
                  <c:v>-0.24787818272000001</c:v>
                </c:pt>
                <c:pt idx="45">
                  <c:v>-0.23932903206</c:v>
                </c:pt>
                <c:pt idx="46">
                  <c:v>-0.31118804091000002</c:v>
                </c:pt>
                <c:pt idx="47">
                  <c:v>-0.27805810131999997</c:v>
                </c:pt>
                <c:pt idx="48">
                  <c:v>-0.24584691864</c:v>
                </c:pt>
                <c:pt idx="49">
                  <c:v>-0.17622393282000001</c:v>
                </c:pt>
                <c:pt idx="50">
                  <c:v>-0.20343947932000001</c:v>
                </c:pt>
                <c:pt idx="51">
                  <c:v>-0.15682123142000001</c:v>
                </c:pt>
                <c:pt idx="52">
                  <c:v>-5.9006809700000003E-2</c:v>
                </c:pt>
                <c:pt idx="53">
                  <c:v>-5.3548593400000004E-3</c:v>
                </c:pt>
                <c:pt idx="54">
                  <c:v>4.5154530409999998E-2</c:v>
                </c:pt>
                <c:pt idx="55">
                  <c:v>6.7890433020000002E-2</c:v>
                </c:pt>
                <c:pt idx="56">
                  <c:v>7.5065547390000001E-2</c:v>
                </c:pt>
                <c:pt idx="57">
                  <c:v>1.9562453569999999E-2</c:v>
                </c:pt>
                <c:pt idx="58">
                  <c:v>4.6427664430000001E-2</c:v>
                </c:pt>
                <c:pt idx="59">
                  <c:v>-1.8769682950000002E-2</c:v>
                </c:pt>
                <c:pt idx="60">
                  <c:v>-2.3323809130000001E-2</c:v>
                </c:pt>
                <c:pt idx="61">
                  <c:v>-5.9712145360000003E-2</c:v>
                </c:pt>
                <c:pt idx="62">
                  <c:v>-6.4491983769999997E-2</c:v>
                </c:pt>
                <c:pt idx="63">
                  <c:v>-7.6930048469999998E-2</c:v>
                </c:pt>
                <c:pt idx="64">
                  <c:v>-7.4385685219999997E-2</c:v>
                </c:pt>
                <c:pt idx="65">
                  <c:v>-4.2045031740000002E-2</c:v>
                </c:pt>
                <c:pt idx="66">
                  <c:v>-6.5702628109999994E-2</c:v>
                </c:pt>
                <c:pt idx="67">
                  <c:v>-9.6481152959999997E-2</c:v>
                </c:pt>
                <c:pt idx="68">
                  <c:v>-0.10169255738000001</c:v>
                </c:pt>
                <c:pt idx="69">
                  <c:v>-7.7522573560000002E-2</c:v>
                </c:pt>
                <c:pt idx="70">
                  <c:v>-7.3835836870000005E-2</c:v>
                </c:pt>
                <c:pt idx="71">
                  <c:v>-9.9122464889999998E-2</c:v>
                </c:pt>
                <c:pt idx="72">
                  <c:v>-0.17028966001000001</c:v>
                </c:pt>
                <c:pt idx="73">
                  <c:v>-0.17412670935999999</c:v>
                </c:pt>
                <c:pt idx="74">
                  <c:v>-0.16109519348000001</c:v>
                </c:pt>
                <c:pt idx="75">
                  <c:v>-0.16620458848</c:v>
                </c:pt>
                <c:pt idx="76">
                  <c:v>-0.20707099906000001</c:v>
                </c:pt>
                <c:pt idx="77">
                  <c:v>-0.17402976132</c:v>
                </c:pt>
                <c:pt idx="78">
                  <c:v>-7.7311111469999999E-2</c:v>
                </c:pt>
                <c:pt idx="79">
                  <c:v>-8.8373960700000004E-2</c:v>
                </c:pt>
                <c:pt idx="80">
                  <c:v>-1.017321381E-2</c:v>
                </c:pt>
                <c:pt idx="81">
                  <c:v>7.0994250549999999E-2</c:v>
                </c:pt>
                <c:pt idx="82">
                  <c:v>9.9707936019999999E-2</c:v>
                </c:pt>
                <c:pt idx="83">
                  <c:v>3.080558538E-2</c:v>
                </c:pt>
                <c:pt idx="84">
                  <c:v>-3.0547226399999999E-2</c:v>
                </c:pt>
                <c:pt idx="85">
                  <c:v>0.10987791342</c:v>
                </c:pt>
                <c:pt idx="86">
                  <c:v>8.8325753359999995E-2</c:v>
                </c:pt>
                <c:pt idx="87">
                  <c:v>6.4576134899999998E-3</c:v>
                </c:pt>
                <c:pt idx="88">
                  <c:v>-1.7087725080000001E-2</c:v>
                </c:pt>
                <c:pt idx="89">
                  <c:v>4.8801369839999997E-2</c:v>
                </c:pt>
                <c:pt idx="90">
                  <c:v>0.23670027264999999</c:v>
                </c:pt>
                <c:pt idx="91">
                  <c:v>0.1324859813</c:v>
                </c:pt>
                <c:pt idx="92">
                  <c:v>9.5047528519999994E-2</c:v>
                </c:pt>
                <c:pt idx="93">
                  <c:v>0.24443835562999999</c:v>
                </c:pt>
                <c:pt idx="94">
                  <c:v>0.30407158836999998</c:v>
                </c:pt>
                <c:pt idx="95">
                  <c:v>0.26702269695000003</c:v>
                </c:pt>
                <c:pt idx="96">
                  <c:v>0.12966115265</c:v>
                </c:pt>
                <c:pt idx="97">
                  <c:v>5.3020051669999999E-2</c:v>
                </c:pt>
                <c:pt idx="98">
                  <c:v>7.7799833509999999E-2</c:v>
                </c:pt>
                <c:pt idx="99">
                  <c:v>-9.1966969849999997E-2</c:v>
                </c:pt>
                <c:pt idx="100">
                  <c:v>-0.18143800523</c:v>
                </c:pt>
                <c:pt idx="101">
                  <c:v>-0.17434289848000001</c:v>
                </c:pt>
                <c:pt idx="102">
                  <c:v>-0.17585956853000001</c:v>
                </c:pt>
                <c:pt idx="103">
                  <c:v>-0.11441856005000001</c:v>
                </c:pt>
                <c:pt idx="104">
                  <c:v>-9.3784488050000003E-2</c:v>
                </c:pt>
                <c:pt idx="105">
                  <c:v>-0.11966377428</c:v>
                </c:pt>
                <c:pt idx="106">
                  <c:v>3.1019714600000001E-2</c:v>
                </c:pt>
                <c:pt idx="107">
                  <c:v>8.3138546500000007E-3</c:v>
                </c:pt>
                <c:pt idx="108">
                  <c:v>-0.13172385281999999</c:v>
                </c:pt>
                <c:pt idx="109">
                  <c:v>-0.13363787375</c:v>
                </c:pt>
                <c:pt idx="110">
                  <c:v>-0.17411931507</c:v>
                </c:pt>
                <c:pt idx="111">
                  <c:v>-0.17580368098999999</c:v>
                </c:pt>
                <c:pt idx="112">
                  <c:v>-0.10652834008000001</c:v>
                </c:pt>
                <c:pt idx="113">
                  <c:v>-0.11512744722</c:v>
                </c:pt>
                <c:pt idx="114">
                  <c:v>4.1221739129999997E-2</c:v>
                </c:pt>
                <c:pt idx="115">
                  <c:v>0.19817401623</c:v>
                </c:pt>
                <c:pt idx="116">
                  <c:v>0.20371086199999999</c:v>
                </c:pt>
                <c:pt idx="117">
                  <c:v>0.33372172183999999</c:v>
                </c:pt>
                <c:pt idx="118">
                  <c:v>0.23471938197</c:v>
                </c:pt>
                <c:pt idx="119">
                  <c:v>0.27089159716</c:v>
                </c:pt>
                <c:pt idx="120">
                  <c:v>0.23794569962000001</c:v>
                </c:pt>
                <c:pt idx="121">
                  <c:v>9.4063329010000002E-2</c:v>
                </c:pt>
                <c:pt idx="122">
                  <c:v>6.764212772E-2</c:v>
                </c:pt>
                <c:pt idx="123">
                  <c:v>3.0642475990000001E-2</c:v>
                </c:pt>
                <c:pt idx="124">
                  <c:v>-3.7318644669999998E-2</c:v>
                </c:pt>
                <c:pt idx="125">
                  <c:v>-7.1849998639999996E-2</c:v>
                </c:pt>
                <c:pt idx="126">
                  <c:v>-0.11507722335999999</c:v>
                </c:pt>
                <c:pt idx="127">
                  <c:v>-0.13565177722999999</c:v>
                </c:pt>
                <c:pt idx="128">
                  <c:v>-0.17255867671</c:v>
                </c:pt>
                <c:pt idx="129">
                  <c:v>-0.16001792918999999</c:v>
                </c:pt>
                <c:pt idx="130">
                  <c:v>-0.15927550347</c:v>
                </c:pt>
                <c:pt idx="131">
                  <c:v>-0.1116911738</c:v>
                </c:pt>
                <c:pt idx="132">
                  <c:v>-0.10838814014000001</c:v>
                </c:pt>
                <c:pt idx="133">
                  <c:v>-0.10576261022</c:v>
                </c:pt>
                <c:pt idx="134">
                  <c:v>-6.044477895E-2</c:v>
                </c:pt>
                <c:pt idx="135">
                  <c:v>1.2165694600000001E-2</c:v>
                </c:pt>
                <c:pt idx="136">
                  <c:v>2.3840638479999999E-2</c:v>
                </c:pt>
                <c:pt idx="137">
                  <c:v>-3.10315431E-3</c:v>
                </c:pt>
                <c:pt idx="138">
                  <c:v>-2.8575552019999999E-2</c:v>
                </c:pt>
                <c:pt idx="139">
                  <c:v>8.3424530339999997E-2</c:v>
                </c:pt>
                <c:pt idx="140">
                  <c:v>0.19167616285</c:v>
                </c:pt>
                <c:pt idx="141">
                  <c:v>0.13390757234</c:v>
                </c:pt>
                <c:pt idx="142">
                  <c:v>8.6478534580000002E-2</c:v>
                </c:pt>
                <c:pt idx="143">
                  <c:v>9.3149624360000002E-2</c:v>
                </c:pt>
                <c:pt idx="144">
                  <c:v>0.17681718354000001</c:v>
                </c:pt>
                <c:pt idx="145">
                  <c:v>0.10484896582</c:v>
                </c:pt>
                <c:pt idx="146">
                  <c:v>-6.1166825600000004E-3</c:v>
                </c:pt>
                <c:pt idx="147">
                  <c:v>-5.9092617510000001E-2</c:v>
                </c:pt>
                <c:pt idx="148">
                  <c:v>-0.12441723305000001</c:v>
                </c:pt>
                <c:pt idx="149">
                  <c:v>-0.10964084215</c:v>
                </c:pt>
                <c:pt idx="150">
                  <c:v>-8.094227977E-2</c:v>
                </c:pt>
                <c:pt idx="151">
                  <c:v>-9.5961638449999997E-2</c:v>
                </c:pt>
                <c:pt idx="152">
                  <c:v>-6.3510089480000004E-2</c:v>
                </c:pt>
                <c:pt idx="153">
                  <c:v>-2.8717924580000002E-2</c:v>
                </c:pt>
                <c:pt idx="154">
                  <c:v>-1.40993266E-2</c:v>
                </c:pt>
                <c:pt idx="155">
                  <c:v>7.1890238839999995E-2</c:v>
                </c:pt>
                <c:pt idx="156">
                  <c:v>7.5578738940000001E-2</c:v>
                </c:pt>
                <c:pt idx="157">
                  <c:v>7.193558672E-2</c:v>
                </c:pt>
                <c:pt idx="158">
                  <c:v>7.847844843E-2</c:v>
                </c:pt>
                <c:pt idx="159">
                  <c:v>3.4200716130000003E-2</c:v>
                </c:pt>
                <c:pt idx="160">
                  <c:v>0.11615908278000001</c:v>
                </c:pt>
                <c:pt idx="161">
                  <c:v>8.9722579529999999E-2</c:v>
                </c:pt>
                <c:pt idx="162">
                  <c:v>0.11741555187</c:v>
                </c:pt>
                <c:pt idx="163">
                  <c:v>4.7105002020000002E-2</c:v>
                </c:pt>
                <c:pt idx="164">
                  <c:v>-6.2069320169999997E-2</c:v>
                </c:pt>
                <c:pt idx="165">
                  <c:v>-7.1751239379999998E-2</c:v>
                </c:pt>
                <c:pt idx="166">
                  <c:v>-5.4893154399999998E-2</c:v>
                </c:pt>
                <c:pt idx="167">
                  <c:v>-0.12157881824</c:v>
                </c:pt>
                <c:pt idx="168">
                  <c:v>-0.15196142887</c:v>
                </c:pt>
                <c:pt idx="169">
                  <c:v>-6.2673691510000004E-2</c:v>
                </c:pt>
                <c:pt idx="170">
                  <c:v>-1.2555086400000001E-3</c:v>
                </c:pt>
                <c:pt idx="171">
                  <c:v>9.3768358800000007E-2</c:v>
                </c:pt>
                <c:pt idx="172">
                  <c:v>0.14618312996999999</c:v>
                </c:pt>
                <c:pt idx="173">
                  <c:v>0.21506534461999999</c:v>
                </c:pt>
                <c:pt idx="174">
                  <c:v>0.12173007677</c:v>
                </c:pt>
                <c:pt idx="175">
                  <c:v>2.8056954330000002E-2</c:v>
                </c:pt>
                <c:pt idx="176">
                  <c:v>-7.0759993899999997E-3</c:v>
                </c:pt>
                <c:pt idx="177">
                  <c:v>-1.428723222E-2</c:v>
                </c:pt>
                <c:pt idx="178">
                  <c:v>-0.10371564503</c:v>
                </c:pt>
                <c:pt idx="179">
                  <c:v>-0.17956929677</c:v>
                </c:pt>
                <c:pt idx="180">
                  <c:v>-0.17310575893999999</c:v>
                </c:pt>
                <c:pt idx="181">
                  <c:v>-9.2585685050000005E-2</c:v>
                </c:pt>
                <c:pt idx="182">
                  <c:v>1.18015587E-3</c:v>
                </c:pt>
                <c:pt idx="183">
                  <c:v>-6.9956170390000003E-2</c:v>
                </c:pt>
                <c:pt idx="184">
                  <c:v>-3.3536672060000002E-2</c:v>
                </c:pt>
                <c:pt idx="185">
                  <c:v>5.595731483E-2</c:v>
                </c:pt>
                <c:pt idx="186">
                  <c:v>6.4955527289999995E-2</c:v>
                </c:pt>
                <c:pt idx="187">
                  <c:v>-9.2525282400000002E-3</c:v>
                </c:pt>
                <c:pt idx="188">
                  <c:v>-6.2654876139999996E-2</c:v>
                </c:pt>
                <c:pt idx="189">
                  <c:v>-0.11969165918999999</c:v>
                </c:pt>
                <c:pt idx="190">
                  <c:v>-9.4263588829999995E-2</c:v>
                </c:pt>
                <c:pt idx="191">
                  <c:v>-0.13297012549000001</c:v>
                </c:pt>
                <c:pt idx="192">
                  <c:v>-0.17065252780000001</c:v>
                </c:pt>
                <c:pt idx="193">
                  <c:v>-8.3522473750000006E-2</c:v>
                </c:pt>
                <c:pt idx="194">
                  <c:v>-7.4618538679999999E-2</c:v>
                </c:pt>
                <c:pt idx="195">
                  <c:v>-5.4810257590000001E-2</c:v>
                </c:pt>
                <c:pt idx="196">
                  <c:v>-5.8217348400000004E-3</c:v>
                </c:pt>
                <c:pt idx="197">
                  <c:v>-0.10631427976000001</c:v>
                </c:pt>
                <c:pt idx="198">
                  <c:v>-7.3772297269999995E-2</c:v>
                </c:pt>
                <c:pt idx="199">
                  <c:v>-9.7970562689999999E-2</c:v>
                </c:pt>
                <c:pt idx="200">
                  <c:v>-0.16908887307000001</c:v>
                </c:pt>
                <c:pt idx="201">
                  <c:v>-8.480938415E-2</c:v>
                </c:pt>
                <c:pt idx="202">
                  <c:v>-2.438124102E-2</c:v>
                </c:pt>
                <c:pt idx="203">
                  <c:v>3.7662521189999999E-2</c:v>
                </c:pt>
                <c:pt idx="204">
                  <c:v>0.17952322903000001</c:v>
                </c:pt>
                <c:pt idx="205">
                  <c:v>0.10823244552</c:v>
                </c:pt>
                <c:pt idx="206">
                  <c:v>0.17700895253000001</c:v>
                </c:pt>
                <c:pt idx="207">
                  <c:v>0.18576289709999999</c:v>
                </c:pt>
                <c:pt idx="208">
                  <c:v>4.6073717960000003E-2</c:v>
                </c:pt>
                <c:pt idx="209">
                  <c:v>-2.5904529999999999E-3</c:v>
                </c:pt>
                <c:pt idx="210">
                  <c:v>-0.10330547573</c:v>
                </c:pt>
                <c:pt idx="211">
                  <c:v>-0.10334695375</c:v>
                </c:pt>
                <c:pt idx="212">
                  <c:v>-6.2341418510000003E-2</c:v>
                </c:pt>
                <c:pt idx="213">
                  <c:v>-6.8749658290000001E-2</c:v>
                </c:pt>
                <c:pt idx="214">
                  <c:v>-0.10335902773</c:v>
                </c:pt>
                <c:pt idx="215">
                  <c:v>-0.10399635607</c:v>
                </c:pt>
                <c:pt idx="216">
                  <c:v>-5.443502653E-2</c:v>
                </c:pt>
                <c:pt idx="217">
                  <c:v>-4.0651818409999999E-2</c:v>
                </c:pt>
                <c:pt idx="218">
                  <c:v>-1.2868096920000001E-2</c:v>
                </c:pt>
                <c:pt idx="219">
                  <c:v>0.12851678180000001</c:v>
                </c:pt>
                <c:pt idx="220">
                  <c:v>0.16606823332000001</c:v>
                </c:pt>
                <c:pt idx="221">
                  <c:v>0.37808444901999999</c:v>
                </c:pt>
                <c:pt idx="222">
                  <c:v>0.47335948916999998</c:v>
                </c:pt>
                <c:pt idx="223">
                  <c:v>0.55248694072000004</c:v>
                </c:pt>
                <c:pt idx="224">
                  <c:v>0.65681216934999997</c:v>
                </c:pt>
                <c:pt idx="225">
                  <c:v>0.35416229494000001</c:v>
                </c:pt>
                <c:pt idx="226">
                  <c:v>0.15689279662</c:v>
                </c:pt>
                <c:pt idx="227">
                  <c:v>0.10340013474</c:v>
                </c:pt>
                <c:pt idx="228">
                  <c:v>-1.9164367349999999E-2</c:v>
                </c:pt>
                <c:pt idx="229">
                  <c:v>-0.15477185857</c:v>
                </c:pt>
                <c:pt idx="230">
                  <c:v>-0.19615648593000001</c:v>
                </c:pt>
                <c:pt idx="231">
                  <c:v>-0.23034205860000001</c:v>
                </c:pt>
                <c:pt idx="232">
                  <c:v>-5.3703985879999999E-2</c:v>
                </c:pt>
                <c:pt idx="233">
                  <c:v>5.3081006219999997E-2</c:v>
                </c:pt>
                <c:pt idx="234">
                  <c:v>0.17437789881999999</c:v>
                </c:pt>
                <c:pt idx="235">
                  <c:v>0.33718759410999999</c:v>
                </c:pt>
                <c:pt idx="236">
                  <c:v>0.40365949937000001</c:v>
                </c:pt>
                <c:pt idx="237">
                  <c:v>0.41232352553000001</c:v>
                </c:pt>
                <c:pt idx="238">
                  <c:v>0.31771894094000003</c:v>
                </c:pt>
                <c:pt idx="239">
                  <c:v>0.18608098338000001</c:v>
                </c:pt>
                <c:pt idx="240">
                  <c:v>-3.73583995E-3</c:v>
                </c:pt>
                <c:pt idx="241">
                  <c:v>-0.15256357594</c:v>
                </c:pt>
                <c:pt idx="242">
                  <c:v>-0.33576095478000001</c:v>
                </c:pt>
                <c:pt idx="243">
                  <c:v>-0.38362068966000001</c:v>
                </c:pt>
                <c:pt idx="244">
                  <c:v>-0.33988203660999999</c:v>
                </c:pt>
                <c:pt idx="245">
                  <c:v>-0.23796254753000001</c:v>
                </c:pt>
                <c:pt idx="246">
                  <c:v>-0.20248682253</c:v>
                </c:pt>
                <c:pt idx="247">
                  <c:v>-5.5684696239999998E-2</c:v>
                </c:pt>
                <c:pt idx="248">
                  <c:v>0.19647696475000001</c:v>
                </c:pt>
                <c:pt idx="249">
                  <c:v>0.58421851290000004</c:v>
                </c:pt>
                <c:pt idx="250">
                  <c:v>0.61280114335000002</c:v>
                </c:pt>
                <c:pt idx="251">
                  <c:v>0.37890699905000003</c:v>
                </c:pt>
                <c:pt idx="252">
                  <c:v>0.42231826240999998</c:v>
                </c:pt>
                <c:pt idx="253">
                  <c:v>0.38841342986999999</c:v>
                </c:pt>
                <c:pt idx="254">
                  <c:v>0.17258382644</c:v>
                </c:pt>
                <c:pt idx="255">
                  <c:v>-1.157907367E-2</c:v>
                </c:pt>
                <c:pt idx="256">
                  <c:v>-0.15172960770999999</c:v>
                </c:pt>
                <c:pt idx="257">
                  <c:v>-0.24747474747000001</c:v>
                </c:pt>
                <c:pt idx="258">
                  <c:v>-0.33111954458999998</c:v>
                </c:pt>
                <c:pt idx="259">
                  <c:v>-0.43188405797000001</c:v>
                </c:pt>
                <c:pt idx="260">
                  <c:v>-0.43785342054999998</c:v>
                </c:pt>
                <c:pt idx="261">
                  <c:v>-0.41923344947000002</c:v>
                </c:pt>
                <c:pt idx="262">
                  <c:v>-0.2542087542</c:v>
                </c:pt>
                <c:pt idx="263">
                  <c:v>-0.17602996255</c:v>
                </c:pt>
                <c:pt idx="264">
                  <c:v>8.1300812999999996E-3</c:v>
                </c:pt>
                <c:pt idx="265">
                  <c:v>3.6036036049999998E-2</c:v>
                </c:pt>
                <c:pt idx="266">
                  <c:v>0.15720930229999999</c:v>
                </c:pt>
                <c:pt idx="267">
                  <c:v>0.34741784036000001</c:v>
                </c:pt>
                <c:pt idx="268">
                  <c:v>0.24615384612999999</c:v>
                </c:pt>
                <c:pt idx="269">
                  <c:v>-0.11978021976</c:v>
                </c:pt>
                <c:pt idx="270">
                  <c:v>-0.12142857143000001</c:v>
                </c:pt>
                <c:pt idx="271">
                  <c:v>0.47781065086000002</c:v>
                </c:pt>
                <c:pt idx="272">
                  <c:v>0.63871951221000001</c:v>
                </c:pt>
                <c:pt idx="273">
                  <c:v>0.67848699764999998</c:v>
                </c:pt>
                <c:pt idx="274">
                  <c:v>0.38666666668999999</c:v>
                </c:pt>
                <c:pt idx="275">
                  <c:v>1.41592920353</c:v>
                </c:pt>
                <c:pt idx="276">
                  <c:v>1.6923076923</c:v>
                </c:pt>
                <c:pt idx="277">
                  <c:v>0.70707070708999997</c:v>
                </c:pt>
                <c:pt idx="278">
                  <c:v>-0.10869565218</c:v>
                </c:pt>
                <c:pt idx="279">
                  <c:v>-0.29499999998999998</c:v>
                </c:pt>
                <c:pt idx="280">
                  <c:v>-0.39123376623</c:v>
                </c:pt>
                <c:pt idx="281">
                  <c:v>-0.60141093473999996</c:v>
                </c:pt>
                <c:pt idx="282">
                  <c:v>-0.64745762711999999</c:v>
                </c:pt>
                <c:pt idx="283">
                  <c:v>-0.77999999999000003</c:v>
                </c:pt>
                <c:pt idx="284">
                  <c:v>-0.23333333333</c:v>
                </c:pt>
                <c:pt idx="285">
                  <c:v>-9.0909090920000005E-2</c:v>
                </c:pt>
                <c:pt idx="286">
                  <c:v>0.35087719296999997</c:v>
                </c:pt>
                <c:pt idx="287">
                  <c:v>0.96875</c:v>
                </c:pt>
                <c:pt idx="288">
                  <c:v>1.1071428571699999</c:v>
                </c:pt>
                <c:pt idx="289">
                  <c:v>0.31578947364999999</c:v>
                </c:pt>
                <c:pt idx="290">
                  <c:v>0.37142857142000002</c:v>
                </c:pt>
                <c:pt idx="291">
                  <c:v>-0.40540540538999997</c:v>
                </c:pt>
                <c:pt idx="292">
                  <c:v>5.5555555550000003E-2</c:v>
                </c:pt>
                <c:pt idx="293">
                  <c:v>-0.13513513513</c:v>
                </c:pt>
                <c:pt idx="294">
                  <c:v>-0.26315789473000001</c:v>
                </c:pt>
                <c:pt idx="295">
                  <c:v>1.00000000003</c:v>
                </c:pt>
                <c:pt idx="296">
                  <c:v>0.45833333333999998</c:v>
                </c:pt>
                <c:pt idx="297">
                  <c:v>0.60869565214999999</c:v>
                </c:pt>
                <c:pt idx="298">
                  <c:v>-5.263157894E-2</c:v>
                </c:pt>
                <c:pt idx="299">
                  <c:v>-1</c:v>
                </c:pt>
                <c:pt idx="300">
                  <c:v>-1</c:v>
                </c:pt>
                <c:pt idx="301">
                  <c:v>-1</c:v>
                </c:pt>
                <c:pt idx="302">
                  <c:v>-1</c:v>
                </c:pt>
                <c:pt idx="303">
                  <c:v>-1</c:v>
                </c:pt>
                <c:pt idx="304">
                  <c:v>-1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6">
                  <c:v>0.19999999999000001</c:v>
                </c:pt>
                <c:pt idx="317">
                  <c:v>-0.25</c:v>
                </c:pt>
                <c:pt idx="318">
                  <c:v>-0.23076923077</c:v>
                </c:pt>
                <c:pt idx="319">
                  <c:v>0</c:v>
                </c:pt>
                <c:pt idx="320">
                  <c:v>-0.29999999998999999</c:v>
                </c:pt>
                <c:pt idx="322">
                  <c:v>0.15384615384</c:v>
                </c:pt>
                <c:pt idx="323">
                  <c:v>0.84615384615</c:v>
                </c:pt>
                <c:pt idx="324">
                  <c:v>-7.1428571420000003E-2</c:v>
                </c:pt>
                <c:pt idx="325">
                  <c:v>-8.3333333329999995E-2</c:v>
                </c:pt>
                <c:pt idx="326">
                  <c:v>0.42857142857000002</c:v>
                </c:pt>
                <c:pt idx="327">
                  <c:v>-6.6666666659999999E-2</c:v>
                </c:pt>
                <c:pt idx="328">
                  <c:v>-0.18749999999</c:v>
                </c:pt>
                <c:pt idx="329">
                  <c:v>-7.1428571420000003E-2</c:v>
                </c:pt>
                <c:pt idx="330">
                  <c:v>0.23529411763999999</c:v>
                </c:pt>
                <c:pt idx="331">
                  <c:v>0.2</c:v>
                </c:pt>
                <c:pt idx="332">
                  <c:v>0.47368421051999998</c:v>
                </c:pt>
                <c:pt idx="333">
                  <c:v>0.76470588235000003</c:v>
                </c:pt>
                <c:pt idx="334">
                  <c:v>1</c:v>
                </c:pt>
                <c:pt idx="335">
                  <c:v>0.3125</c:v>
                </c:pt>
                <c:pt idx="336">
                  <c:v>6.25E-2</c:v>
                </c:pt>
                <c:pt idx="337">
                  <c:v>-0.16666666666999999</c:v>
                </c:pt>
                <c:pt idx="338">
                  <c:v>-0.26923076922</c:v>
                </c:pt>
                <c:pt idx="339">
                  <c:v>-0.5</c:v>
                </c:pt>
                <c:pt idx="340">
                  <c:v>-0.6</c:v>
                </c:pt>
                <c:pt idx="341">
                  <c:v>-0.49206349206</c:v>
                </c:pt>
                <c:pt idx="342">
                  <c:v>-0.40740740739999998</c:v>
                </c:pt>
                <c:pt idx="343">
                  <c:v>-0.42857142856000002</c:v>
                </c:pt>
                <c:pt idx="344">
                  <c:v>-0.23529411763999999</c:v>
                </c:pt>
                <c:pt idx="345">
                  <c:v>-0.10526315789</c:v>
                </c:pt>
                <c:pt idx="346">
                  <c:v>-0.375</c:v>
                </c:pt>
                <c:pt idx="347">
                  <c:v>-0.38235294118000002</c:v>
                </c:pt>
                <c:pt idx="348">
                  <c:v>0</c:v>
                </c:pt>
                <c:pt idx="349">
                  <c:v>0.10526315788</c:v>
                </c:pt>
                <c:pt idx="350">
                  <c:v>-0.14999999998999999</c:v>
                </c:pt>
                <c:pt idx="351">
                  <c:v>-0.54761904761000002</c:v>
                </c:pt>
                <c:pt idx="352">
                  <c:v>1.0869565217199999</c:v>
                </c:pt>
                <c:pt idx="353">
                  <c:v>1.8333333333499999</c:v>
                </c:pt>
                <c:pt idx="354">
                  <c:v>0.63636363636000004</c:v>
                </c:pt>
                <c:pt idx="355">
                  <c:v>0.23913043478000001</c:v>
                </c:pt>
                <c:pt idx="356">
                  <c:v>0.6</c:v>
                </c:pt>
                <c:pt idx="357">
                  <c:v>2.8888888888799999</c:v>
                </c:pt>
                <c:pt idx="358">
                  <c:v>0.53333333333999999</c:v>
                </c:pt>
                <c:pt idx="359">
                  <c:v>-0.17241379309999999</c:v>
                </c:pt>
                <c:pt idx="360">
                  <c:v>-0.43103448275</c:v>
                </c:pt>
                <c:pt idx="361">
                  <c:v>-0.20689655171999999</c:v>
                </c:pt>
                <c:pt idx="362">
                  <c:v>-0.35344827585999999</c:v>
                </c:pt>
                <c:pt idx="363">
                  <c:v>-0.55000000000000004</c:v>
                </c:pt>
                <c:pt idx="364">
                  <c:v>-0.77272727272999997</c:v>
                </c:pt>
                <c:pt idx="365">
                  <c:v>-0.70999999998999996</c:v>
                </c:pt>
                <c:pt idx="366">
                  <c:v>-0.62820512820999996</c:v>
                </c:pt>
                <c:pt idx="367">
                  <c:v>0.17171717171000001</c:v>
                </c:pt>
                <c:pt idx="368">
                  <c:v>0.13725490195000001</c:v>
                </c:pt>
                <c:pt idx="369">
                  <c:v>1</c:v>
                </c:pt>
                <c:pt idx="370">
                  <c:v>1.80851063832</c:v>
                </c:pt>
                <c:pt idx="371">
                  <c:v>2.4313725490000002</c:v>
                </c:pt>
                <c:pt idx="372">
                  <c:v>2.31914893621</c:v>
                </c:pt>
                <c:pt idx="373">
                  <c:v>-4.807692308E-2</c:v>
                </c:pt>
                <c:pt idx="374">
                  <c:v>-0.30612244897000002</c:v>
                </c:pt>
                <c:pt idx="375">
                  <c:v>-0.52941176469999995</c:v>
                </c:pt>
                <c:pt idx="376">
                  <c:v>-0.54807692307</c:v>
                </c:pt>
                <c:pt idx="377">
                  <c:v>-3.7735849049999999E-2</c:v>
                </c:pt>
                <c:pt idx="378">
                  <c:v>-0.16071428571999999</c:v>
                </c:pt>
                <c:pt idx="379">
                  <c:v>-0.14754098360000001</c:v>
                </c:pt>
                <c:pt idx="380">
                  <c:v>0.24576271186000001</c:v>
                </c:pt>
                <c:pt idx="381">
                  <c:v>0.02</c:v>
                </c:pt>
                <c:pt idx="382">
                  <c:v>0.38666666666999999</c:v>
                </c:pt>
                <c:pt idx="383">
                  <c:v>-0.37769080235000002</c:v>
                </c:pt>
                <c:pt idx="384">
                  <c:v>-0.75111111110999995</c:v>
                </c:pt>
                <c:pt idx="385">
                  <c:v>-0.72888888889000003</c:v>
                </c:pt>
                <c:pt idx="386">
                  <c:v>-0.73423423423</c:v>
                </c:pt>
                <c:pt idx="387">
                  <c:v>-0.51923076923</c:v>
                </c:pt>
                <c:pt idx="388">
                  <c:v>-0.63235294117999996</c:v>
                </c:pt>
                <c:pt idx="389">
                  <c:v>-0.33333333332999998</c:v>
                </c:pt>
                <c:pt idx="390">
                  <c:v>1.00000000003</c:v>
                </c:pt>
                <c:pt idx="391">
                  <c:v>1.40384615388</c:v>
                </c:pt>
                <c:pt idx="392">
                  <c:v>2.4533333333199998</c:v>
                </c:pt>
                <c:pt idx="393">
                  <c:v>1.5060240964</c:v>
                </c:pt>
                <c:pt idx="394">
                  <c:v>2.8202247191800001</c:v>
                </c:pt>
                <c:pt idx="395">
                  <c:v>1.33430232561</c:v>
                </c:pt>
                <c:pt idx="396">
                  <c:v>1.20588235294</c:v>
                </c:pt>
                <c:pt idx="397">
                  <c:v>1.1806451613</c:v>
                </c:pt>
                <c:pt idx="398">
                  <c:v>0.22448979591000001</c:v>
                </c:pt>
                <c:pt idx="399">
                  <c:v>0.41880341880999999</c:v>
                </c:pt>
                <c:pt idx="400">
                  <c:v>0.47218045113000001</c:v>
                </c:pt>
                <c:pt idx="401">
                  <c:v>0.24637681158999999</c:v>
                </c:pt>
                <c:pt idx="402">
                  <c:v>0.23841059602</c:v>
                </c:pt>
                <c:pt idx="403">
                  <c:v>2.8365384609999999E-2</c:v>
                </c:pt>
                <c:pt idx="404">
                  <c:v>5.4216867459999998E-2</c:v>
                </c:pt>
                <c:pt idx="405">
                  <c:v>-1.1824324319999999E-2</c:v>
                </c:pt>
                <c:pt idx="406">
                  <c:v>-0.34482758619999998</c:v>
                </c:pt>
                <c:pt idx="407">
                  <c:v>-0.42701048950999998</c:v>
                </c:pt>
                <c:pt idx="408">
                  <c:v>-0.31674208143999999</c:v>
                </c:pt>
                <c:pt idx="409">
                  <c:v>-0.35483870967999998</c:v>
                </c:pt>
                <c:pt idx="410">
                  <c:v>-0.32370370370000001</c:v>
                </c:pt>
                <c:pt idx="411">
                  <c:v>-0.42656826568</c:v>
                </c:pt>
                <c:pt idx="412">
                  <c:v>-0.38484848485000001</c:v>
                </c:pt>
                <c:pt idx="413">
                  <c:v>-0.41769316908999998</c:v>
                </c:pt>
                <c:pt idx="414">
                  <c:v>-0.52403083201</c:v>
                </c:pt>
                <c:pt idx="415">
                  <c:v>-0.64137665091999996</c:v>
                </c:pt>
                <c:pt idx="416">
                  <c:v>-0.58438971387000005</c:v>
                </c:pt>
                <c:pt idx="417">
                  <c:v>-0.48479087452000003</c:v>
                </c:pt>
                <c:pt idx="418">
                  <c:v>-0.18133802817</c:v>
                </c:pt>
                <c:pt idx="419">
                  <c:v>-6.9009584649999997E-2</c:v>
                </c:pt>
                <c:pt idx="420">
                  <c:v>-5.5428781730000001E-2</c:v>
                </c:pt>
                <c:pt idx="421">
                  <c:v>0.42816666667999997</c:v>
                </c:pt>
                <c:pt idx="422">
                  <c:v>0.35054170001000001</c:v>
                </c:pt>
                <c:pt idx="423">
                  <c:v>7.1857571849999996E-2</c:v>
                </c:pt>
                <c:pt idx="424">
                  <c:v>-0.23818694545999999</c:v>
                </c:pt>
                <c:pt idx="425">
                  <c:v>-0.29109910376999998</c:v>
                </c:pt>
                <c:pt idx="426">
                  <c:v>-0.13457306337</c:v>
                </c:pt>
                <c:pt idx="427">
                  <c:v>-2.8873666879999999E-2</c:v>
                </c:pt>
                <c:pt idx="428">
                  <c:v>-0.12408326695000001</c:v>
                </c:pt>
                <c:pt idx="429">
                  <c:v>-2.4348750660000001E-2</c:v>
                </c:pt>
                <c:pt idx="430">
                  <c:v>0.13330648411000001</c:v>
                </c:pt>
                <c:pt idx="431">
                  <c:v>0.40093676815000001</c:v>
                </c:pt>
                <c:pt idx="432">
                  <c:v>0.27206370270000002</c:v>
                </c:pt>
                <c:pt idx="433">
                  <c:v>3.5922410920000002E-2</c:v>
                </c:pt>
                <c:pt idx="434">
                  <c:v>0.11913923476</c:v>
                </c:pt>
                <c:pt idx="435">
                  <c:v>0.17334844895000001</c:v>
                </c:pt>
                <c:pt idx="436">
                  <c:v>2.7234237330000001E-2</c:v>
                </c:pt>
                <c:pt idx="437">
                  <c:v>-0.10352067182999999</c:v>
                </c:pt>
                <c:pt idx="438">
                  <c:v>-0.13181242076999999</c:v>
                </c:pt>
                <c:pt idx="439">
                  <c:v>-0.10720043909</c:v>
                </c:pt>
                <c:pt idx="440">
                  <c:v>-0.13417323850999999</c:v>
                </c:pt>
                <c:pt idx="441">
                  <c:v>-0.25691276416999997</c:v>
                </c:pt>
                <c:pt idx="442">
                  <c:v>-0.18109398921</c:v>
                </c:pt>
                <c:pt idx="443">
                  <c:v>-9.124828082E-2</c:v>
                </c:pt>
                <c:pt idx="444">
                  <c:v>-6.1945974309999999E-2</c:v>
                </c:pt>
                <c:pt idx="445">
                  <c:v>-5.2175940699999996E-3</c:v>
                </c:pt>
                <c:pt idx="446">
                  <c:v>0.18248882265999999</c:v>
                </c:pt>
                <c:pt idx="447">
                  <c:v>0.39166019600000002</c:v>
                </c:pt>
                <c:pt idx="448">
                  <c:v>0.29375696767999998</c:v>
                </c:pt>
                <c:pt idx="449">
                  <c:v>0.13373690831000001</c:v>
                </c:pt>
                <c:pt idx="450">
                  <c:v>0.12347973081999999</c:v>
                </c:pt>
                <c:pt idx="451">
                  <c:v>9.2506576790000003E-2</c:v>
                </c:pt>
                <c:pt idx="452">
                  <c:v>-7.1124021920000002E-2</c:v>
                </c:pt>
                <c:pt idx="453">
                  <c:v>-0.22603197438</c:v>
                </c:pt>
                <c:pt idx="454">
                  <c:v>-0.26696606785999999</c:v>
                </c:pt>
                <c:pt idx="455">
                  <c:v>-0.15156719623000001</c:v>
                </c:pt>
                <c:pt idx="456">
                  <c:v>-0.10937977315</c:v>
                </c:pt>
                <c:pt idx="457">
                  <c:v>-0.16936457734999999</c:v>
                </c:pt>
                <c:pt idx="458">
                  <c:v>-9.2318324389999998E-2</c:v>
                </c:pt>
                <c:pt idx="459">
                  <c:v>5.4454727900000001E-3</c:v>
                </c:pt>
                <c:pt idx="460">
                  <c:v>7.9282508799999995E-3</c:v>
                </c:pt>
                <c:pt idx="461">
                  <c:v>-2.4535021760000001E-2</c:v>
                </c:pt>
                <c:pt idx="462">
                  <c:v>-0.10237670677000001</c:v>
                </c:pt>
                <c:pt idx="463">
                  <c:v>-0.10003622626</c:v>
                </c:pt>
                <c:pt idx="464">
                  <c:v>-9.805331799E-2</c:v>
                </c:pt>
                <c:pt idx="465">
                  <c:v>-0.19999313187000001</c:v>
                </c:pt>
                <c:pt idx="466">
                  <c:v>-0.13500898845000001</c:v>
                </c:pt>
                <c:pt idx="467">
                  <c:v>-7.4690123959999993E-2</c:v>
                </c:pt>
                <c:pt idx="468">
                  <c:v>-4.5965035610000003E-2</c:v>
                </c:pt>
                <c:pt idx="469">
                  <c:v>0.14273804778999999</c:v>
                </c:pt>
                <c:pt idx="470">
                  <c:v>0.10830330265</c:v>
                </c:pt>
                <c:pt idx="471">
                  <c:v>0.25660334944000002</c:v>
                </c:pt>
                <c:pt idx="472">
                  <c:v>0.25109112628000002</c:v>
                </c:pt>
                <c:pt idx="473">
                  <c:v>0.16077629181</c:v>
                </c:pt>
                <c:pt idx="474">
                  <c:v>0.18558444302999999</c:v>
                </c:pt>
                <c:pt idx="475">
                  <c:v>9.8934331789999996E-2</c:v>
                </c:pt>
                <c:pt idx="476">
                  <c:v>4.546879685E-2</c:v>
                </c:pt>
                <c:pt idx="477">
                  <c:v>0.11499802917</c:v>
                </c:pt>
                <c:pt idx="478">
                  <c:v>0.22182325798999999</c:v>
                </c:pt>
                <c:pt idx="479">
                  <c:v>0.34270414992999998</c:v>
                </c:pt>
                <c:pt idx="480">
                  <c:v>0.31828936474000002</c:v>
                </c:pt>
                <c:pt idx="481">
                  <c:v>0.27030420867999999</c:v>
                </c:pt>
                <c:pt idx="482">
                  <c:v>0.32949496359000002</c:v>
                </c:pt>
                <c:pt idx="483">
                  <c:v>0.38706968934000002</c:v>
                </c:pt>
                <c:pt idx="484">
                  <c:v>0.31001727113999999</c:v>
                </c:pt>
                <c:pt idx="485">
                  <c:v>0.14471639471</c:v>
                </c:pt>
                <c:pt idx="486">
                  <c:v>0.12635753731999999</c:v>
                </c:pt>
                <c:pt idx="487">
                  <c:v>0.22775083924</c:v>
                </c:pt>
                <c:pt idx="488">
                  <c:v>0.22327031507</c:v>
                </c:pt>
                <c:pt idx="489">
                  <c:v>3.9077556110000002E-2</c:v>
                </c:pt>
                <c:pt idx="490">
                  <c:v>-0.20117526826000001</c:v>
                </c:pt>
                <c:pt idx="491">
                  <c:v>-0.26537951110000002</c:v>
                </c:pt>
                <c:pt idx="492">
                  <c:v>-0.21988383606</c:v>
                </c:pt>
                <c:pt idx="493">
                  <c:v>-0.21966735967000001</c:v>
                </c:pt>
                <c:pt idx="494">
                  <c:v>-0.29098024271</c:v>
                </c:pt>
                <c:pt idx="495">
                  <c:v>-0.24546603367</c:v>
                </c:pt>
                <c:pt idx="496">
                  <c:v>0.16589694828000001</c:v>
                </c:pt>
                <c:pt idx="497">
                  <c:v>0.4546163849</c:v>
                </c:pt>
                <c:pt idx="498">
                  <c:v>0.53855650520999998</c:v>
                </c:pt>
                <c:pt idx="499">
                  <c:v>0.37648809524999999</c:v>
                </c:pt>
                <c:pt idx="500">
                  <c:v>0.52671474830999998</c:v>
                </c:pt>
                <c:pt idx="501">
                  <c:v>0.49146757678000003</c:v>
                </c:pt>
                <c:pt idx="502">
                  <c:v>0.11545454545</c:v>
                </c:pt>
                <c:pt idx="503">
                  <c:v>-0.14356586007</c:v>
                </c:pt>
                <c:pt idx="504">
                  <c:v>-0.28845548914000002</c:v>
                </c:pt>
                <c:pt idx="505">
                  <c:v>-0.25109702583999999</c:v>
                </c:pt>
                <c:pt idx="506">
                  <c:v>-0.24021857923000001</c:v>
                </c:pt>
                <c:pt idx="507">
                  <c:v>-0.23746219314</c:v>
                </c:pt>
                <c:pt idx="508">
                  <c:v>-0.17512574302</c:v>
                </c:pt>
                <c:pt idx="509">
                  <c:v>0.17967283453999999</c:v>
                </c:pt>
                <c:pt idx="510">
                  <c:v>0.27327387114000001</c:v>
                </c:pt>
                <c:pt idx="511">
                  <c:v>0.10178941908</c:v>
                </c:pt>
                <c:pt idx="512">
                  <c:v>-2.5313262119999999E-2</c:v>
                </c:pt>
                <c:pt idx="513">
                  <c:v>-0.11440480678000001</c:v>
                </c:pt>
                <c:pt idx="514">
                  <c:v>-0.18142659916000001</c:v>
                </c:pt>
                <c:pt idx="515">
                  <c:v>-0.31134115982999999</c:v>
                </c:pt>
                <c:pt idx="516">
                  <c:v>-0.38603701031999998</c:v>
                </c:pt>
                <c:pt idx="517">
                  <c:v>-0.31353847482000002</c:v>
                </c:pt>
                <c:pt idx="518">
                  <c:v>-0.16614252656</c:v>
                </c:pt>
                <c:pt idx="519">
                  <c:v>-9.8896457029999996E-2</c:v>
                </c:pt>
                <c:pt idx="520">
                  <c:v>-2.4130882730000001E-2</c:v>
                </c:pt>
                <c:pt idx="521">
                  <c:v>-5.8654078169999999E-2</c:v>
                </c:pt>
                <c:pt idx="522">
                  <c:v>0.12533473183999999</c:v>
                </c:pt>
                <c:pt idx="523">
                  <c:v>5.5141119109999998E-2</c:v>
                </c:pt>
                <c:pt idx="524">
                  <c:v>-0.12905313426000001</c:v>
                </c:pt>
                <c:pt idx="525">
                  <c:v>-0.18182655692999999</c:v>
                </c:pt>
                <c:pt idx="526">
                  <c:v>-0.12583035985999999</c:v>
                </c:pt>
                <c:pt idx="527">
                  <c:v>-0.10143339724</c:v>
                </c:pt>
                <c:pt idx="528">
                  <c:v>-0.10119030235</c:v>
                </c:pt>
                <c:pt idx="529">
                  <c:v>-0.16676215524999999</c:v>
                </c:pt>
                <c:pt idx="530">
                  <c:v>-5.0607174679999999E-2</c:v>
                </c:pt>
                <c:pt idx="531">
                  <c:v>0.13112085903000001</c:v>
                </c:pt>
                <c:pt idx="532">
                  <c:v>6.5816893739999993E-2</c:v>
                </c:pt>
                <c:pt idx="533">
                  <c:v>-3.1922442430000003E-2</c:v>
                </c:pt>
                <c:pt idx="534">
                  <c:v>-8.8714086139999995E-2</c:v>
                </c:pt>
                <c:pt idx="535">
                  <c:v>-4.1554785060000002E-2</c:v>
                </c:pt>
                <c:pt idx="536">
                  <c:v>-1.471171045E-2</c:v>
                </c:pt>
                <c:pt idx="537">
                  <c:v>-4.6010105099999997E-3</c:v>
                </c:pt>
                <c:pt idx="538">
                  <c:v>-7.2686993820000004E-2</c:v>
                </c:pt>
                <c:pt idx="539">
                  <c:v>7.5062144910000003E-2</c:v>
                </c:pt>
                <c:pt idx="540">
                  <c:v>0.29867018428999997</c:v>
                </c:pt>
                <c:pt idx="541">
                  <c:v>0.38261259915000001</c:v>
                </c:pt>
                <c:pt idx="542">
                  <c:v>0.32239981497999998</c:v>
                </c:pt>
                <c:pt idx="543">
                  <c:v>0.28389023444</c:v>
                </c:pt>
                <c:pt idx="544">
                  <c:v>0.26672808796000003</c:v>
                </c:pt>
                <c:pt idx="545">
                  <c:v>0.17239467849000001</c:v>
                </c:pt>
                <c:pt idx="546">
                  <c:v>5.1030927830000003E-2</c:v>
                </c:pt>
                <c:pt idx="547">
                  <c:v>-9.9521767809999995E-2</c:v>
                </c:pt>
                <c:pt idx="548">
                  <c:v>-0.15266817949</c:v>
                </c:pt>
                <c:pt idx="549">
                  <c:v>-0.24262455806</c:v>
                </c:pt>
                <c:pt idx="550">
                  <c:v>-0.34921113784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8A5-4E48-8001-05252BA01D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  <c:max val="2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pocet_pripadu_7dni_100_000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53</c:f>
              <c:numCache>
                <c:formatCode>m/d/yyyy</c:formatCode>
                <c:ptCount val="55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</c:numCache>
            </c:numRef>
          </c:cat>
          <c:val>
            <c:numRef>
              <c:f>Sheet1!$B$2:$B$553</c:f>
              <c:numCache>
                <c:formatCode>0%</c:formatCode>
                <c:ptCount val="552"/>
                <c:pt idx="0">
                  <c:v>5.0937000000000003E-2</c:v>
                </c:pt>
                <c:pt idx="1">
                  <c:v>0.13528699999999999</c:v>
                </c:pt>
                <c:pt idx="2">
                  <c:v>0.154945</c:v>
                </c:pt>
                <c:pt idx="3">
                  <c:v>0.36202800000000002</c:v>
                </c:pt>
                <c:pt idx="4">
                  <c:v>0.411605</c:v>
                </c:pt>
                <c:pt idx="5">
                  <c:v>0.39889000000000002</c:v>
                </c:pt>
                <c:pt idx="6">
                  <c:v>0.38939800000000002</c:v>
                </c:pt>
                <c:pt idx="7">
                  <c:v>0.47425499999999998</c:v>
                </c:pt>
                <c:pt idx="8">
                  <c:v>0.50328200000000001</c:v>
                </c:pt>
                <c:pt idx="9">
                  <c:v>0.512405</c:v>
                </c:pt>
                <c:pt idx="10">
                  <c:v>0.66767399999999999</c:v>
                </c:pt>
                <c:pt idx="11">
                  <c:v>0.88519300000000001</c:v>
                </c:pt>
                <c:pt idx="12">
                  <c:v>0.84879099999999996</c:v>
                </c:pt>
                <c:pt idx="13">
                  <c:v>0.61904700000000001</c:v>
                </c:pt>
                <c:pt idx="14">
                  <c:v>0.52512199999999998</c:v>
                </c:pt>
                <c:pt idx="15">
                  <c:v>0.50248099999999996</c:v>
                </c:pt>
                <c:pt idx="16">
                  <c:v>0.58198399999999995</c:v>
                </c:pt>
                <c:pt idx="17">
                  <c:v>0.52010699999999999</c:v>
                </c:pt>
                <c:pt idx="18">
                  <c:v>0.52860300000000005</c:v>
                </c:pt>
                <c:pt idx="19">
                  <c:v>0.44564599999999999</c:v>
                </c:pt>
                <c:pt idx="20">
                  <c:v>0.33136700000000002</c:v>
                </c:pt>
                <c:pt idx="21">
                  <c:v>0.27906300000000001</c:v>
                </c:pt>
                <c:pt idx="22">
                  <c:v>0.100343</c:v>
                </c:pt>
                <c:pt idx="23">
                  <c:v>2.6877999999999999E-2</c:v>
                </c:pt>
                <c:pt idx="24">
                  <c:v>4.1958000000000002E-2</c:v>
                </c:pt>
                <c:pt idx="25">
                  <c:v>7.8833E-2</c:v>
                </c:pt>
                <c:pt idx="26">
                  <c:v>5.0082000000000002E-2</c:v>
                </c:pt>
                <c:pt idx="27">
                  <c:v>-5.1583999999999998E-2</c:v>
                </c:pt>
                <c:pt idx="28">
                  <c:v>-0.113257</c:v>
                </c:pt>
                <c:pt idx="29">
                  <c:v>-0.117032</c:v>
                </c:pt>
                <c:pt idx="30">
                  <c:v>-7.2972999999999996E-2</c:v>
                </c:pt>
                <c:pt idx="31">
                  <c:v>-1.6147000000000002E-2</c:v>
                </c:pt>
                <c:pt idx="32">
                  <c:v>6.3719999999999999E-2</c:v>
                </c:pt>
                <c:pt idx="33">
                  <c:v>7.6793E-2</c:v>
                </c:pt>
                <c:pt idx="34">
                  <c:v>0.153557</c:v>
                </c:pt>
                <c:pt idx="35">
                  <c:v>0.26003500000000002</c:v>
                </c:pt>
                <c:pt idx="36">
                  <c:v>0.30795800000000001</c:v>
                </c:pt>
                <c:pt idx="37">
                  <c:v>0.34492299999999998</c:v>
                </c:pt>
                <c:pt idx="38">
                  <c:v>0.62193699999999996</c:v>
                </c:pt>
                <c:pt idx="39">
                  <c:v>0.742448</c:v>
                </c:pt>
                <c:pt idx="40">
                  <c:v>0.65216099999999999</c:v>
                </c:pt>
                <c:pt idx="41">
                  <c:v>0.48432999999999998</c:v>
                </c:pt>
                <c:pt idx="42">
                  <c:v>0.44284200000000001</c:v>
                </c:pt>
                <c:pt idx="43">
                  <c:v>0.464364</c:v>
                </c:pt>
                <c:pt idx="44">
                  <c:v>0.37436199999999997</c:v>
                </c:pt>
                <c:pt idx="45">
                  <c:v>0.41131899999999999</c:v>
                </c:pt>
                <c:pt idx="46">
                  <c:v>0.50171200000000005</c:v>
                </c:pt>
                <c:pt idx="47">
                  <c:v>0.45685199999999998</c:v>
                </c:pt>
                <c:pt idx="48">
                  <c:v>0.37050100000000002</c:v>
                </c:pt>
                <c:pt idx="49">
                  <c:v>0.30332399999999998</c:v>
                </c:pt>
                <c:pt idx="50">
                  <c:v>0.29788199999999998</c:v>
                </c:pt>
                <c:pt idx="51">
                  <c:v>0.24773400000000001</c:v>
                </c:pt>
                <c:pt idx="52">
                  <c:v>0.315438</c:v>
                </c:pt>
                <c:pt idx="53">
                  <c:v>0.36896000000000001</c:v>
                </c:pt>
                <c:pt idx="54">
                  <c:v>0.29852099999999998</c:v>
                </c:pt>
                <c:pt idx="55">
                  <c:v>0.19133800000000001</c:v>
                </c:pt>
                <c:pt idx="56">
                  <c:v>0.13782800000000001</c:v>
                </c:pt>
                <c:pt idx="57">
                  <c:v>5.1376999999999999E-2</c:v>
                </c:pt>
                <c:pt idx="58">
                  <c:v>-2.6053E-2</c:v>
                </c:pt>
                <c:pt idx="59">
                  <c:v>-5.8874000000000003E-2</c:v>
                </c:pt>
                <c:pt idx="60">
                  <c:v>-5.5683000000000003E-2</c:v>
                </c:pt>
                <c:pt idx="61">
                  <c:v>-0.11573</c:v>
                </c:pt>
                <c:pt idx="62">
                  <c:v>-0.19159200000000001</c:v>
                </c:pt>
                <c:pt idx="63">
                  <c:v>-0.23407800000000001</c:v>
                </c:pt>
                <c:pt idx="64">
                  <c:v>-0.192353</c:v>
                </c:pt>
                <c:pt idx="65">
                  <c:v>-0.186054</c:v>
                </c:pt>
                <c:pt idx="66">
                  <c:v>-0.175202</c:v>
                </c:pt>
                <c:pt idx="67">
                  <c:v>-0.162241</c:v>
                </c:pt>
                <c:pt idx="68">
                  <c:v>-0.211449</c:v>
                </c:pt>
                <c:pt idx="69">
                  <c:v>-0.26033400000000001</c:v>
                </c:pt>
                <c:pt idx="70">
                  <c:v>-0.29283300000000001</c:v>
                </c:pt>
                <c:pt idx="71">
                  <c:v>-0.366477</c:v>
                </c:pt>
                <c:pt idx="72">
                  <c:v>-0.41368300000000002</c:v>
                </c:pt>
                <c:pt idx="73">
                  <c:v>-0.42211500000000002</c:v>
                </c:pt>
                <c:pt idx="74">
                  <c:v>-0.40966799999999998</c:v>
                </c:pt>
                <c:pt idx="75">
                  <c:v>-0.42763099999999998</c:v>
                </c:pt>
                <c:pt idx="76">
                  <c:v>-0.43420700000000001</c:v>
                </c:pt>
                <c:pt idx="77">
                  <c:v>-0.47397299999999998</c:v>
                </c:pt>
                <c:pt idx="78">
                  <c:v>-0.463308</c:v>
                </c:pt>
                <c:pt idx="79">
                  <c:v>-0.43512400000000001</c:v>
                </c:pt>
                <c:pt idx="80">
                  <c:v>-0.38761299999999999</c:v>
                </c:pt>
                <c:pt idx="81">
                  <c:v>-0.33521200000000001</c:v>
                </c:pt>
                <c:pt idx="82">
                  <c:v>-0.36648500000000001</c:v>
                </c:pt>
                <c:pt idx="83">
                  <c:v>-0.36449199999999998</c:v>
                </c:pt>
                <c:pt idx="84">
                  <c:v>-0.279364</c:v>
                </c:pt>
                <c:pt idx="85">
                  <c:v>-0.25190800000000002</c:v>
                </c:pt>
                <c:pt idx="86">
                  <c:v>-0.27332699999999999</c:v>
                </c:pt>
                <c:pt idx="87">
                  <c:v>-0.227544</c:v>
                </c:pt>
                <c:pt idx="88">
                  <c:v>-0.18192700000000001</c:v>
                </c:pt>
                <c:pt idx="89">
                  <c:v>-0.24950700000000001</c:v>
                </c:pt>
                <c:pt idx="90">
                  <c:v>-0.28019300000000003</c:v>
                </c:pt>
                <c:pt idx="91">
                  <c:v>-0.311303</c:v>
                </c:pt>
                <c:pt idx="92">
                  <c:v>-0.29359499999999999</c:v>
                </c:pt>
                <c:pt idx="93">
                  <c:v>-0.23530899999999999</c:v>
                </c:pt>
                <c:pt idx="94">
                  <c:v>-0.14880099999999999</c:v>
                </c:pt>
                <c:pt idx="95">
                  <c:v>-6.4221E-2</c:v>
                </c:pt>
                <c:pt idx="96">
                  <c:v>-0.125338</c:v>
                </c:pt>
                <c:pt idx="97">
                  <c:v>-0.12607699999999999</c:v>
                </c:pt>
                <c:pt idx="98">
                  <c:v>-6.6725000000000007E-2</c:v>
                </c:pt>
                <c:pt idx="99">
                  <c:v>4.1729999999999996E-3</c:v>
                </c:pt>
                <c:pt idx="100">
                  <c:v>2.2012E-2</c:v>
                </c:pt>
                <c:pt idx="101">
                  <c:v>0.110722</c:v>
                </c:pt>
                <c:pt idx="102">
                  <c:v>0.18417500000000001</c:v>
                </c:pt>
                <c:pt idx="103">
                  <c:v>9.2467999999999995E-2</c:v>
                </c:pt>
                <c:pt idx="104">
                  <c:v>4.5950999999999999E-2</c:v>
                </c:pt>
                <c:pt idx="105">
                  <c:v>6.7918000000000006E-2</c:v>
                </c:pt>
                <c:pt idx="106">
                  <c:v>8.0120999999999998E-2</c:v>
                </c:pt>
                <c:pt idx="107">
                  <c:v>8.0860000000000001E-2</c:v>
                </c:pt>
                <c:pt idx="108">
                  <c:v>0.18515000000000001</c:v>
                </c:pt>
                <c:pt idx="109">
                  <c:v>0.27734999999999999</c:v>
                </c:pt>
                <c:pt idx="110">
                  <c:v>0.18166299999999999</c:v>
                </c:pt>
                <c:pt idx="111">
                  <c:v>0.14611099999999999</c:v>
                </c:pt>
                <c:pt idx="112">
                  <c:v>0.152223</c:v>
                </c:pt>
                <c:pt idx="113">
                  <c:v>0.24922900000000001</c:v>
                </c:pt>
                <c:pt idx="114">
                  <c:v>0.109192</c:v>
                </c:pt>
                <c:pt idx="115">
                  <c:v>2.088E-3</c:v>
                </c:pt>
                <c:pt idx="116">
                  <c:v>-4.0613000000000003E-2</c:v>
                </c:pt>
                <c:pt idx="117">
                  <c:v>-0.138711</c:v>
                </c:pt>
                <c:pt idx="118">
                  <c:v>-0.17085800000000001</c:v>
                </c:pt>
                <c:pt idx="119">
                  <c:v>-0.164852</c:v>
                </c:pt>
                <c:pt idx="120">
                  <c:v>-6.6198999999999994E-2</c:v>
                </c:pt>
                <c:pt idx="121">
                  <c:v>0.168517</c:v>
                </c:pt>
                <c:pt idx="122">
                  <c:v>0.31409100000000001</c:v>
                </c:pt>
                <c:pt idx="123">
                  <c:v>0.39348300000000003</c:v>
                </c:pt>
                <c:pt idx="124">
                  <c:v>0.25425300000000001</c:v>
                </c:pt>
                <c:pt idx="125">
                  <c:v>0.12281599999999999</c:v>
                </c:pt>
                <c:pt idx="126">
                  <c:v>4.0228E-2</c:v>
                </c:pt>
                <c:pt idx="127">
                  <c:v>6.2778E-2</c:v>
                </c:pt>
                <c:pt idx="128">
                  <c:v>9.9862999999999993E-2</c:v>
                </c:pt>
                <c:pt idx="129">
                  <c:v>0.197468</c:v>
                </c:pt>
                <c:pt idx="130">
                  <c:v>0.19214500000000001</c:v>
                </c:pt>
                <c:pt idx="131">
                  <c:v>4.1376999999999997E-2</c:v>
                </c:pt>
                <c:pt idx="132">
                  <c:v>-7.0139000000000007E-2</c:v>
                </c:pt>
                <c:pt idx="133">
                  <c:v>-0.154225</c:v>
                </c:pt>
                <c:pt idx="134">
                  <c:v>-0.21015200000000001</c:v>
                </c:pt>
                <c:pt idx="135">
                  <c:v>-0.28390700000000002</c:v>
                </c:pt>
                <c:pt idx="136">
                  <c:v>-0.36094700000000002</c:v>
                </c:pt>
                <c:pt idx="137">
                  <c:v>-0.39026899999999998</c:v>
                </c:pt>
                <c:pt idx="138">
                  <c:v>-0.42676599999999998</c:v>
                </c:pt>
                <c:pt idx="139">
                  <c:v>-0.43195800000000001</c:v>
                </c:pt>
                <c:pt idx="140">
                  <c:v>-0.40418199999999999</c:v>
                </c:pt>
                <c:pt idx="141">
                  <c:v>-0.365622</c:v>
                </c:pt>
                <c:pt idx="142">
                  <c:v>-0.324903</c:v>
                </c:pt>
                <c:pt idx="143">
                  <c:v>-0.25769599999999998</c:v>
                </c:pt>
                <c:pt idx="144">
                  <c:v>-0.20322200000000001</c:v>
                </c:pt>
                <c:pt idx="145">
                  <c:v>-0.24862000000000001</c:v>
                </c:pt>
                <c:pt idx="146">
                  <c:v>-0.26151000000000002</c:v>
                </c:pt>
                <c:pt idx="147">
                  <c:v>-0.23744299999999999</c:v>
                </c:pt>
                <c:pt idx="148">
                  <c:v>-0.18842700000000001</c:v>
                </c:pt>
                <c:pt idx="149">
                  <c:v>-0.185835</c:v>
                </c:pt>
                <c:pt idx="150">
                  <c:v>-0.116606</c:v>
                </c:pt>
                <c:pt idx="151">
                  <c:v>-7.0873000000000005E-2</c:v>
                </c:pt>
                <c:pt idx="152">
                  <c:v>-0.140902</c:v>
                </c:pt>
                <c:pt idx="153">
                  <c:v>-0.15944900000000001</c:v>
                </c:pt>
                <c:pt idx="154">
                  <c:v>-0.14385300000000001</c:v>
                </c:pt>
                <c:pt idx="155">
                  <c:v>-0.120208</c:v>
                </c:pt>
                <c:pt idx="156">
                  <c:v>-0.126333</c:v>
                </c:pt>
                <c:pt idx="157">
                  <c:v>-4.0240999999999999E-2</c:v>
                </c:pt>
                <c:pt idx="158">
                  <c:v>6.8859999999999998E-3</c:v>
                </c:pt>
                <c:pt idx="159">
                  <c:v>-8.4491999999999998E-2</c:v>
                </c:pt>
                <c:pt idx="160">
                  <c:v>-0.109343</c:v>
                </c:pt>
                <c:pt idx="161">
                  <c:v>-9.6826999999999996E-2</c:v>
                </c:pt>
                <c:pt idx="162">
                  <c:v>-9.2010999999999996E-2</c:v>
                </c:pt>
                <c:pt idx="163">
                  <c:v>-8.5390999999999995E-2</c:v>
                </c:pt>
                <c:pt idx="164">
                  <c:v>-2.7040000000000002E-2</c:v>
                </c:pt>
                <c:pt idx="165">
                  <c:v>8.7569999999999992E-3</c:v>
                </c:pt>
                <c:pt idx="166">
                  <c:v>-7.4944999999999998E-2</c:v>
                </c:pt>
                <c:pt idx="167">
                  <c:v>-0.10312499999999999</c:v>
                </c:pt>
                <c:pt idx="168">
                  <c:v>-7.1392999999999998E-2</c:v>
                </c:pt>
                <c:pt idx="169">
                  <c:v>-3.8843999999999997E-2</c:v>
                </c:pt>
                <c:pt idx="170">
                  <c:v>-6.6950000000000004E-3</c:v>
                </c:pt>
                <c:pt idx="171">
                  <c:v>9.5395999999999995E-2</c:v>
                </c:pt>
                <c:pt idx="172">
                  <c:v>0.162382</c:v>
                </c:pt>
                <c:pt idx="173">
                  <c:v>6.1245000000000001E-2</c:v>
                </c:pt>
                <c:pt idx="174">
                  <c:v>2.3095000000000001E-2</c:v>
                </c:pt>
                <c:pt idx="175">
                  <c:v>6.1009000000000001E-2</c:v>
                </c:pt>
                <c:pt idx="176">
                  <c:v>6.9387000000000004E-2</c:v>
                </c:pt>
                <c:pt idx="177">
                  <c:v>7.5951000000000005E-2</c:v>
                </c:pt>
                <c:pt idx="178">
                  <c:v>0.15767</c:v>
                </c:pt>
                <c:pt idx="179">
                  <c:v>0.19130800000000001</c:v>
                </c:pt>
                <c:pt idx="180">
                  <c:v>6.6984000000000002E-2</c:v>
                </c:pt>
                <c:pt idx="181">
                  <c:v>-9.5989999999999999E-3</c:v>
                </c:pt>
                <c:pt idx="182">
                  <c:v>-1.2383E-2</c:v>
                </c:pt>
                <c:pt idx="183">
                  <c:v>-3.6573000000000001E-2</c:v>
                </c:pt>
                <c:pt idx="184">
                  <c:v>-6.8164000000000002E-2</c:v>
                </c:pt>
                <c:pt idx="185">
                  <c:v>-5.0680000000000003E-2</c:v>
                </c:pt>
                <c:pt idx="186">
                  <c:v>-1.2347E-2</c:v>
                </c:pt>
                <c:pt idx="187">
                  <c:v>-0.104444</c:v>
                </c:pt>
                <c:pt idx="188">
                  <c:v>-0.16866200000000001</c:v>
                </c:pt>
                <c:pt idx="189">
                  <c:v>-0.17783499999999999</c:v>
                </c:pt>
                <c:pt idx="190">
                  <c:v>-0.19143399999999999</c:v>
                </c:pt>
                <c:pt idx="191">
                  <c:v>-0.21391299999999999</c:v>
                </c:pt>
                <c:pt idx="192">
                  <c:v>-0.147059</c:v>
                </c:pt>
                <c:pt idx="193">
                  <c:v>-0.13363700000000001</c:v>
                </c:pt>
                <c:pt idx="194">
                  <c:v>-0.19536800000000001</c:v>
                </c:pt>
                <c:pt idx="195">
                  <c:v>-0.22037899999999999</c:v>
                </c:pt>
                <c:pt idx="196">
                  <c:v>-0.21609200000000001</c:v>
                </c:pt>
                <c:pt idx="197">
                  <c:v>-0.20948600000000001</c:v>
                </c:pt>
                <c:pt idx="198">
                  <c:v>-0.218192</c:v>
                </c:pt>
                <c:pt idx="199">
                  <c:v>-0.22326799999999999</c:v>
                </c:pt>
                <c:pt idx="200">
                  <c:v>-0.18693100000000001</c:v>
                </c:pt>
                <c:pt idx="201">
                  <c:v>-0.25923099999999999</c:v>
                </c:pt>
                <c:pt idx="202">
                  <c:v>-0.31280599999999997</c:v>
                </c:pt>
                <c:pt idx="203">
                  <c:v>-0.32184299999999999</c:v>
                </c:pt>
                <c:pt idx="204">
                  <c:v>-0.32871099999999998</c:v>
                </c:pt>
                <c:pt idx="205">
                  <c:v>-0.34978500000000001</c:v>
                </c:pt>
                <c:pt idx="206">
                  <c:v>-0.29295599999999999</c:v>
                </c:pt>
                <c:pt idx="207">
                  <c:v>-0.26735999999999999</c:v>
                </c:pt>
                <c:pt idx="208">
                  <c:v>-0.32523600000000003</c:v>
                </c:pt>
                <c:pt idx="209">
                  <c:v>-0.34609200000000001</c:v>
                </c:pt>
                <c:pt idx="210">
                  <c:v>-0.33077800000000002</c:v>
                </c:pt>
                <c:pt idx="211">
                  <c:v>-0.31275399999999998</c:v>
                </c:pt>
                <c:pt idx="212">
                  <c:v>-0.30706800000000001</c:v>
                </c:pt>
                <c:pt idx="213">
                  <c:v>-0.30524000000000001</c:v>
                </c:pt>
                <c:pt idx="214">
                  <c:v>-0.28988000000000003</c:v>
                </c:pt>
                <c:pt idx="215">
                  <c:v>-0.34383200000000003</c:v>
                </c:pt>
                <c:pt idx="216">
                  <c:v>-0.44528699999999999</c:v>
                </c:pt>
                <c:pt idx="217">
                  <c:v>-0.46387</c:v>
                </c:pt>
                <c:pt idx="218">
                  <c:v>-0.44033</c:v>
                </c:pt>
                <c:pt idx="219">
                  <c:v>-0.41150399999999998</c:v>
                </c:pt>
                <c:pt idx="220">
                  <c:v>-0.306755</c:v>
                </c:pt>
                <c:pt idx="221">
                  <c:v>-0.26867400000000002</c:v>
                </c:pt>
                <c:pt idx="222">
                  <c:v>-0.28733700000000001</c:v>
                </c:pt>
                <c:pt idx="223">
                  <c:v>-0.19554099999999999</c:v>
                </c:pt>
                <c:pt idx="224">
                  <c:v>-0.17385400000000001</c:v>
                </c:pt>
                <c:pt idx="225">
                  <c:v>-0.22458800000000001</c:v>
                </c:pt>
                <c:pt idx="226">
                  <c:v>-0.25333</c:v>
                </c:pt>
                <c:pt idx="227">
                  <c:v>-0.26643499999999998</c:v>
                </c:pt>
                <c:pt idx="228">
                  <c:v>-0.26007599999999997</c:v>
                </c:pt>
                <c:pt idx="229">
                  <c:v>-0.31071700000000002</c:v>
                </c:pt>
                <c:pt idx="230">
                  <c:v>-0.39794800000000002</c:v>
                </c:pt>
                <c:pt idx="231">
                  <c:v>-0.40229900000000002</c:v>
                </c:pt>
                <c:pt idx="232">
                  <c:v>-0.35120699999999999</c:v>
                </c:pt>
                <c:pt idx="233">
                  <c:v>-0.325548</c:v>
                </c:pt>
                <c:pt idx="234">
                  <c:v>-0.25823800000000002</c:v>
                </c:pt>
                <c:pt idx="235">
                  <c:v>-0.223048</c:v>
                </c:pt>
                <c:pt idx="236">
                  <c:v>-0.29711500000000002</c:v>
                </c:pt>
                <c:pt idx="237">
                  <c:v>-0.32529999999999998</c:v>
                </c:pt>
                <c:pt idx="238">
                  <c:v>-0.28707500000000002</c:v>
                </c:pt>
                <c:pt idx="239">
                  <c:v>-0.27293200000000001</c:v>
                </c:pt>
                <c:pt idx="240">
                  <c:v>-0.26879799999999998</c:v>
                </c:pt>
                <c:pt idx="241">
                  <c:v>-0.218249</c:v>
                </c:pt>
                <c:pt idx="242">
                  <c:v>-0.195518</c:v>
                </c:pt>
                <c:pt idx="243">
                  <c:v>-0.28160200000000002</c:v>
                </c:pt>
                <c:pt idx="244">
                  <c:v>-0.29713200000000001</c:v>
                </c:pt>
                <c:pt idx="245">
                  <c:v>-0.29183700000000001</c:v>
                </c:pt>
                <c:pt idx="246">
                  <c:v>-0.29711700000000002</c:v>
                </c:pt>
                <c:pt idx="247">
                  <c:v>-0.31627499999999997</c:v>
                </c:pt>
                <c:pt idx="248">
                  <c:v>-0.28849799999999998</c:v>
                </c:pt>
                <c:pt idx="249">
                  <c:v>-0.28028199999999998</c:v>
                </c:pt>
                <c:pt idx="250">
                  <c:v>-0.347943</c:v>
                </c:pt>
                <c:pt idx="251">
                  <c:v>-0.381407</c:v>
                </c:pt>
                <c:pt idx="252">
                  <c:v>-0.37339099999999997</c:v>
                </c:pt>
                <c:pt idx="253">
                  <c:v>-0.37615900000000002</c:v>
                </c:pt>
                <c:pt idx="254">
                  <c:v>-0.374807</c:v>
                </c:pt>
                <c:pt idx="255">
                  <c:v>-0.34877799999999998</c:v>
                </c:pt>
                <c:pt idx="256">
                  <c:v>-0.31524000000000002</c:v>
                </c:pt>
                <c:pt idx="257">
                  <c:v>-0.38306400000000002</c:v>
                </c:pt>
                <c:pt idx="258">
                  <c:v>-0.39062200000000002</c:v>
                </c:pt>
                <c:pt idx="259">
                  <c:v>-0.37081999999999998</c:v>
                </c:pt>
                <c:pt idx="260">
                  <c:v>-0.378386</c:v>
                </c:pt>
                <c:pt idx="261">
                  <c:v>-0.40114699999999998</c:v>
                </c:pt>
                <c:pt idx="262">
                  <c:v>-0.371896</c:v>
                </c:pt>
                <c:pt idx="263">
                  <c:v>-0.36767</c:v>
                </c:pt>
                <c:pt idx="264">
                  <c:v>-0.428587</c:v>
                </c:pt>
                <c:pt idx="265">
                  <c:v>-0.457173</c:v>
                </c:pt>
                <c:pt idx="266">
                  <c:v>-0.463227</c:v>
                </c:pt>
                <c:pt idx="267">
                  <c:v>-0.45255099999999998</c:v>
                </c:pt>
                <c:pt idx="268">
                  <c:v>-0.43226399999999998</c:v>
                </c:pt>
                <c:pt idx="269">
                  <c:v>-0.39912199999999998</c:v>
                </c:pt>
                <c:pt idx="270">
                  <c:v>-0.37516500000000003</c:v>
                </c:pt>
                <c:pt idx="271">
                  <c:v>-0.43836999999999998</c:v>
                </c:pt>
                <c:pt idx="272">
                  <c:v>-0.42209099999999999</c:v>
                </c:pt>
                <c:pt idx="273">
                  <c:v>-0.378583</c:v>
                </c:pt>
                <c:pt idx="274">
                  <c:v>-0.38362099999999999</c:v>
                </c:pt>
                <c:pt idx="275">
                  <c:v>-0.368421</c:v>
                </c:pt>
                <c:pt idx="276">
                  <c:v>-0.324376</c:v>
                </c:pt>
                <c:pt idx="277">
                  <c:v>-0.30052499999999999</c:v>
                </c:pt>
                <c:pt idx="278">
                  <c:v>-0.36472700000000002</c:v>
                </c:pt>
                <c:pt idx="279">
                  <c:v>-0.38849499999999998</c:v>
                </c:pt>
                <c:pt idx="280">
                  <c:v>-0.35954000000000003</c:v>
                </c:pt>
                <c:pt idx="281">
                  <c:v>-0.36840400000000001</c:v>
                </c:pt>
                <c:pt idx="282">
                  <c:v>-0.41101900000000002</c:v>
                </c:pt>
                <c:pt idx="283">
                  <c:v>-0.39893000000000001</c:v>
                </c:pt>
                <c:pt idx="284">
                  <c:v>-0.39975899999999998</c:v>
                </c:pt>
                <c:pt idx="285">
                  <c:v>-0.46268599999999999</c:v>
                </c:pt>
                <c:pt idx="286">
                  <c:v>-0.48172799999999999</c:v>
                </c:pt>
                <c:pt idx="287">
                  <c:v>-0.50732699999999997</c:v>
                </c:pt>
                <c:pt idx="288">
                  <c:v>-0.52851099999999995</c:v>
                </c:pt>
                <c:pt idx="289">
                  <c:v>-0.48134500000000002</c:v>
                </c:pt>
                <c:pt idx="290">
                  <c:v>-0.42181800000000003</c:v>
                </c:pt>
                <c:pt idx="291">
                  <c:v>-0.38856400000000002</c:v>
                </c:pt>
                <c:pt idx="292">
                  <c:v>-0.40791100000000002</c:v>
                </c:pt>
                <c:pt idx="293">
                  <c:v>-0.41045700000000002</c:v>
                </c:pt>
                <c:pt idx="294">
                  <c:v>-0.37068899999999999</c:v>
                </c:pt>
                <c:pt idx="295">
                  <c:v>-0.33784900000000001</c:v>
                </c:pt>
                <c:pt idx="296">
                  <c:v>-0.36971799999999999</c:v>
                </c:pt>
                <c:pt idx="297">
                  <c:v>-0.31237700000000002</c:v>
                </c:pt>
                <c:pt idx="298">
                  <c:v>-0.29699999999999999</c:v>
                </c:pt>
                <c:pt idx="299">
                  <c:v>-0.349074</c:v>
                </c:pt>
                <c:pt idx="300">
                  <c:v>-0.273175</c:v>
                </c:pt>
                <c:pt idx="301">
                  <c:v>-0.138797</c:v>
                </c:pt>
                <c:pt idx="302">
                  <c:v>-7.4999999999999997E-2</c:v>
                </c:pt>
                <c:pt idx="303">
                  <c:v>4.3580000000000001E-2</c:v>
                </c:pt>
                <c:pt idx="304">
                  <c:v>0.19947799999999999</c:v>
                </c:pt>
                <c:pt idx="305">
                  <c:v>0.28346399999999999</c:v>
                </c:pt>
                <c:pt idx="306">
                  <c:v>0.19674</c:v>
                </c:pt>
                <c:pt idx="307">
                  <c:v>0.113333</c:v>
                </c:pt>
                <c:pt idx="308">
                  <c:v>2.5916999999999999E-2</c:v>
                </c:pt>
                <c:pt idx="309">
                  <c:v>0.10975600000000001</c:v>
                </c:pt>
                <c:pt idx="310">
                  <c:v>0.121557</c:v>
                </c:pt>
                <c:pt idx="311">
                  <c:v>0.24401900000000001</c:v>
                </c:pt>
                <c:pt idx="312">
                  <c:v>0.23091</c:v>
                </c:pt>
                <c:pt idx="313">
                  <c:v>0.19775400000000001</c:v>
                </c:pt>
                <c:pt idx="314">
                  <c:v>0.34681000000000001</c:v>
                </c:pt>
                <c:pt idx="315">
                  <c:v>0.39105600000000001</c:v>
                </c:pt>
                <c:pt idx="316">
                  <c:v>0.25018499999999999</c:v>
                </c:pt>
                <c:pt idx="317">
                  <c:v>0.12474399999999999</c:v>
                </c:pt>
                <c:pt idx="318">
                  <c:v>9.9793999999999994E-2</c:v>
                </c:pt>
                <c:pt idx="319">
                  <c:v>9.8262000000000002E-2</c:v>
                </c:pt>
                <c:pt idx="320">
                  <c:v>-1.6573999999999998E-2</c:v>
                </c:pt>
                <c:pt idx="321">
                  <c:v>-0.13172300000000001</c:v>
                </c:pt>
                <c:pt idx="322">
                  <c:v>-0.208227</c:v>
                </c:pt>
                <c:pt idx="323">
                  <c:v>-0.196437</c:v>
                </c:pt>
                <c:pt idx="324">
                  <c:v>-0.19472200000000001</c:v>
                </c:pt>
                <c:pt idx="325">
                  <c:v>-0.18604599999999999</c:v>
                </c:pt>
                <c:pt idx="326">
                  <c:v>-0.204545</c:v>
                </c:pt>
                <c:pt idx="327">
                  <c:v>-0.25219200000000003</c:v>
                </c:pt>
                <c:pt idx="328">
                  <c:v>-0.28692800000000002</c:v>
                </c:pt>
                <c:pt idx="329">
                  <c:v>-0.275669</c:v>
                </c:pt>
                <c:pt idx="330">
                  <c:v>-0.27491399999999999</c:v>
                </c:pt>
                <c:pt idx="331">
                  <c:v>-0.26472299999999999</c:v>
                </c:pt>
                <c:pt idx="332">
                  <c:v>-0.24107700000000001</c:v>
                </c:pt>
                <c:pt idx="333">
                  <c:v>-0.188386</c:v>
                </c:pt>
                <c:pt idx="334">
                  <c:v>-0.234015</c:v>
                </c:pt>
                <c:pt idx="335">
                  <c:v>-0.27972399999999997</c:v>
                </c:pt>
                <c:pt idx="336">
                  <c:v>-0.24149399999999999</c:v>
                </c:pt>
                <c:pt idx="337">
                  <c:v>-0.22267400000000001</c:v>
                </c:pt>
                <c:pt idx="338">
                  <c:v>-0.21270500000000001</c:v>
                </c:pt>
                <c:pt idx="339">
                  <c:v>-0.140707</c:v>
                </c:pt>
                <c:pt idx="340">
                  <c:v>-7.6621999999999996E-2</c:v>
                </c:pt>
                <c:pt idx="341">
                  <c:v>-0.103626</c:v>
                </c:pt>
                <c:pt idx="342">
                  <c:v>-0.11414199999999999</c:v>
                </c:pt>
                <c:pt idx="343">
                  <c:v>-6.9093000000000002E-2</c:v>
                </c:pt>
                <c:pt idx="344">
                  <c:v>-3.5113999999999999E-2</c:v>
                </c:pt>
                <c:pt idx="345">
                  <c:v>5.4599999999999996E-3</c:v>
                </c:pt>
                <c:pt idx="346">
                  <c:v>2.6963999999999998E-2</c:v>
                </c:pt>
                <c:pt idx="347">
                  <c:v>2.4067999999999999E-2</c:v>
                </c:pt>
                <c:pt idx="348">
                  <c:v>-7.0655999999999997E-2</c:v>
                </c:pt>
                <c:pt idx="349">
                  <c:v>-0.111036</c:v>
                </c:pt>
                <c:pt idx="350">
                  <c:v>-7.1282999999999999E-2</c:v>
                </c:pt>
                <c:pt idx="351">
                  <c:v>-6.6711999999999994E-2</c:v>
                </c:pt>
                <c:pt idx="352">
                  <c:v>-0.11838600000000001</c:v>
                </c:pt>
                <c:pt idx="353">
                  <c:v>-0.131525</c:v>
                </c:pt>
                <c:pt idx="354">
                  <c:v>-8.7391999999999997E-2</c:v>
                </c:pt>
                <c:pt idx="355">
                  <c:v>-0.13355400000000001</c:v>
                </c:pt>
                <c:pt idx="356">
                  <c:v>-0.200736</c:v>
                </c:pt>
                <c:pt idx="357">
                  <c:v>-0.20418500000000001</c:v>
                </c:pt>
                <c:pt idx="358">
                  <c:v>-0.14904700000000001</c:v>
                </c:pt>
                <c:pt idx="359">
                  <c:v>-0.106382</c:v>
                </c:pt>
                <c:pt idx="360">
                  <c:v>-4.2372E-2</c:v>
                </c:pt>
                <c:pt idx="361">
                  <c:v>-1.9550999999999999E-2</c:v>
                </c:pt>
                <c:pt idx="362">
                  <c:v>-0.125164</c:v>
                </c:pt>
                <c:pt idx="363">
                  <c:v>-0.12861700000000001</c:v>
                </c:pt>
                <c:pt idx="364">
                  <c:v>-7.4417999999999998E-2</c:v>
                </c:pt>
                <c:pt idx="365">
                  <c:v>-6.9536000000000001E-2</c:v>
                </c:pt>
                <c:pt idx="366">
                  <c:v>-1.9646E-2</c:v>
                </c:pt>
                <c:pt idx="367">
                  <c:v>9.0663999999999995E-2</c:v>
                </c:pt>
                <c:pt idx="368">
                  <c:v>0.18327499999999999</c:v>
                </c:pt>
                <c:pt idx="369">
                  <c:v>0.120458</c:v>
                </c:pt>
                <c:pt idx="370">
                  <c:v>0.160388</c:v>
                </c:pt>
                <c:pt idx="371">
                  <c:v>0.330513</c:v>
                </c:pt>
                <c:pt idx="372">
                  <c:v>0.357101</c:v>
                </c:pt>
                <c:pt idx="373">
                  <c:v>0.34809000000000001</c:v>
                </c:pt>
                <c:pt idx="374">
                  <c:v>0.40415000000000001</c:v>
                </c:pt>
                <c:pt idx="375">
                  <c:v>0.42196800000000001</c:v>
                </c:pt>
                <c:pt idx="376">
                  <c:v>0.21385399999999999</c:v>
                </c:pt>
                <c:pt idx="377">
                  <c:v>8.8247000000000006E-2</c:v>
                </c:pt>
                <c:pt idx="378">
                  <c:v>3.986E-2</c:v>
                </c:pt>
                <c:pt idx="379">
                  <c:v>3.1727999999999999E-2</c:v>
                </c:pt>
                <c:pt idx="380">
                  <c:v>3.1238999999999999E-2</c:v>
                </c:pt>
                <c:pt idx="381">
                  <c:v>5.3862E-2</c:v>
                </c:pt>
                <c:pt idx="382">
                  <c:v>9.9199999999999997E-2</c:v>
                </c:pt>
                <c:pt idx="383">
                  <c:v>-9.6579999999999999E-3</c:v>
                </c:pt>
                <c:pt idx="384">
                  <c:v>-6.3607999999999998E-2</c:v>
                </c:pt>
                <c:pt idx="385">
                  <c:v>-3.3945000000000003E-2</c:v>
                </c:pt>
                <c:pt idx="386">
                  <c:v>-8.5519999999999999E-2</c:v>
                </c:pt>
                <c:pt idx="387">
                  <c:v>-0.115823</c:v>
                </c:pt>
                <c:pt idx="388">
                  <c:v>-5.1282000000000001E-2</c:v>
                </c:pt>
                <c:pt idx="389">
                  <c:v>3.4229999999999998E-3</c:v>
                </c:pt>
                <c:pt idx="390">
                  <c:v>-7.5624999999999998E-2</c:v>
                </c:pt>
                <c:pt idx="391">
                  <c:v>-4.7827000000000001E-2</c:v>
                </c:pt>
                <c:pt idx="392">
                  <c:v>-7.2827000000000003E-2</c:v>
                </c:pt>
                <c:pt idx="393">
                  <c:v>-3.6259999999999999E-3</c:v>
                </c:pt>
                <c:pt idx="394">
                  <c:v>0.12767100000000001</c:v>
                </c:pt>
                <c:pt idx="395">
                  <c:v>0.22121299999999999</c:v>
                </c:pt>
                <c:pt idx="396">
                  <c:v>0.27733000000000002</c:v>
                </c:pt>
                <c:pt idx="397">
                  <c:v>0.13644300000000001</c:v>
                </c:pt>
                <c:pt idx="398">
                  <c:v>0.175341</c:v>
                </c:pt>
                <c:pt idx="399">
                  <c:v>0.29719099999999998</c:v>
                </c:pt>
                <c:pt idx="400">
                  <c:v>0.25189099999999998</c:v>
                </c:pt>
                <c:pt idx="401">
                  <c:v>0.17710200000000001</c:v>
                </c:pt>
                <c:pt idx="402">
                  <c:v>0.21160899999999999</c:v>
                </c:pt>
                <c:pt idx="403">
                  <c:v>0.26145400000000002</c:v>
                </c:pt>
                <c:pt idx="404">
                  <c:v>0.13004299999999999</c:v>
                </c:pt>
                <c:pt idx="405">
                  <c:v>0.13117799999999999</c:v>
                </c:pt>
                <c:pt idx="406">
                  <c:v>8.7892999999999999E-2</c:v>
                </c:pt>
                <c:pt idx="407">
                  <c:v>0.11378000000000001</c:v>
                </c:pt>
                <c:pt idx="408">
                  <c:v>0.17929999999999999</c:v>
                </c:pt>
                <c:pt idx="409">
                  <c:v>0.324687</c:v>
                </c:pt>
                <c:pt idx="410">
                  <c:v>0.446687</c:v>
                </c:pt>
                <c:pt idx="411">
                  <c:v>0.30700300000000003</c:v>
                </c:pt>
                <c:pt idx="412">
                  <c:v>0.34397100000000003</c:v>
                </c:pt>
                <c:pt idx="413">
                  <c:v>0.492338</c:v>
                </c:pt>
                <c:pt idx="414">
                  <c:v>0.60980800000000002</c:v>
                </c:pt>
                <c:pt idx="415">
                  <c:v>0.69580399999999998</c:v>
                </c:pt>
                <c:pt idx="416">
                  <c:v>0.92154400000000003</c:v>
                </c:pt>
                <c:pt idx="417">
                  <c:v>1.0571820000000001</c:v>
                </c:pt>
                <c:pt idx="418">
                  <c:v>0.77089300000000005</c:v>
                </c:pt>
                <c:pt idx="419">
                  <c:v>0.65562799999999999</c:v>
                </c:pt>
                <c:pt idx="420">
                  <c:v>0.662354</c:v>
                </c:pt>
                <c:pt idx="421">
                  <c:v>0.60774799999999995</c:v>
                </c:pt>
                <c:pt idx="422">
                  <c:v>0.43238199999999999</c:v>
                </c:pt>
                <c:pt idx="423">
                  <c:v>0.43814599999999998</c:v>
                </c:pt>
                <c:pt idx="424">
                  <c:v>0.49740400000000001</c:v>
                </c:pt>
                <c:pt idx="425">
                  <c:v>0.33192700000000003</c:v>
                </c:pt>
                <c:pt idx="426">
                  <c:v>0.27557500000000001</c:v>
                </c:pt>
                <c:pt idx="427">
                  <c:v>0.28525699999999998</c:v>
                </c:pt>
                <c:pt idx="428">
                  <c:v>0.35238199999999997</c:v>
                </c:pt>
                <c:pt idx="429">
                  <c:v>0.38852900000000001</c:v>
                </c:pt>
                <c:pt idx="430">
                  <c:v>0.45362599999999997</c:v>
                </c:pt>
                <c:pt idx="431">
                  <c:v>0.47105000000000002</c:v>
                </c:pt>
                <c:pt idx="432">
                  <c:v>0.27408900000000003</c:v>
                </c:pt>
                <c:pt idx="433">
                  <c:v>0.158082</c:v>
                </c:pt>
                <c:pt idx="434">
                  <c:v>0.17666399999999999</c:v>
                </c:pt>
                <c:pt idx="435">
                  <c:v>0.195275</c:v>
                </c:pt>
                <c:pt idx="436">
                  <c:v>0.12853300000000001</c:v>
                </c:pt>
                <c:pt idx="437">
                  <c:v>0.21446699999999999</c:v>
                </c:pt>
                <c:pt idx="438">
                  <c:v>0.31965399999999999</c:v>
                </c:pt>
                <c:pt idx="439">
                  <c:v>0.22597400000000001</c:v>
                </c:pt>
                <c:pt idx="440">
                  <c:v>0.136208</c:v>
                </c:pt>
                <c:pt idx="441">
                  <c:v>0.18839700000000001</c:v>
                </c:pt>
                <c:pt idx="442">
                  <c:v>0.18132899999999999</c:v>
                </c:pt>
                <c:pt idx="443">
                  <c:v>0.13458500000000001</c:v>
                </c:pt>
                <c:pt idx="444">
                  <c:v>0.24441599999999999</c:v>
                </c:pt>
                <c:pt idx="445">
                  <c:v>0.31048900000000001</c:v>
                </c:pt>
                <c:pt idx="446">
                  <c:v>0.213121</c:v>
                </c:pt>
                <c:pt idx="447">
                  <c:v>8.4307000000000007E-2</c:v>
                </c:pt>
                <c:pt idx="448">
                  <c:v>0.121643</c:v>
                </c:pt>
                <c:pt idx="449">
                  <c:v>0.16017100000000001</c:v>
                </c:pt>
                <c:pt idx="450">
                  <c:v>0.15925800000000001</c:v>
                </c:pt>
                <c:pt idx="451">
                  <c:v>0.134991</c:v>
                </c:pt>
                <c:pt idx="452">
                  <c:v>0.12739400000000001</c:v>
                </c:pt>
                <c:pt idx="453">
                  <c:v>5.4334E-2</c:v>
                </c:pt>
                <c:pt idx="454">
                  <c:v>-3.3890000000000003E-2</c:v>
                </c:pt>
                <c:pt idx="455">
                  <c:v>-3.0456E-2</c:v>
                </c:pt>
                <c:pt idx="456">
                  <c:v>-0.10059899999999999</c:v>
                </c:pt>
                <c:pt idx="457">
                  <c:v>-0.20217399999999999</c:v>
                </c:pt>
                <c:pt idx="458">
                  <c:v>-0.16250000000000001</c:v>
                </c:pt>
                <c:pt idx="459">
                  <c:v>-0.14254600000000001</c:v>
                </c:pt>
                <c:pt idx="460">
                  <c:v>-0.21762200000000001</c:v>
                </c:pt>
                <c:pt idx="461">
                  <c:v>-0.26905699999999999</c:v>
                </c:pt>
                <c:pt idx="462">
                  <c:v>-0.262407</c:v>
                </c:pt>
                <c:pt idx="463">
                  <c:v>-0.29831800000000003</c:v>
                </c:pt>
                <c:pt idx="464">
                  <c:v>-0.27797899999999998</c:v>
                </c:pt>
                <c:pt idx="465">
                  <c:v>-0.26641300000000001</c:v>
                </c:pt>
                <c:pt idx="466">
                  <c:v>-0.24501899999999999</c:v>
                </c:pt>
                <c:pt idx="467">
                  <c:v>-0.29842299999999999</c:v>
                </c:pt>
                <c:pt idx="468">
                  <c:v>-0.33649899999999999</c:v>
                </c:pt>
                <c:pt idx="469">
                  <c:v>-0.328345</c:v>
                </c:pt>
                <c:pt idx="470">
                  <c:v>-0.32804299999999997</c:v>
                </c:pt>
                <c:pt idx="471">
                  <c:v>-0.33318500000000001</c:v>
                </c:pt>
                <c:pt idx="472">
                  <c:v>-0.311193</c:v>
                </c:pt>
                <c:pt idx="473">
                  <c:v>-0.29459099999999999</c:v>
                </c:pt>
                <c:pt idx="474">
                  <c:v>-0.33643000000000001</c:v>
                </c:pt>
                <c:pt idx="475">
                  <c:v>-0.37530400000000003</c:v>
                </c:pt>
                <c:pt idx="476">
                  <c:v>-0.37441200000000002</c:v>
                </c:pt>
                <c:pt idx="477">
                  <c:v>-0.37134899999999998</c:v>
                </c:pt>
                <c:pt idx="478">
                  <c:v>-0.35719000000000001</c:v>
                </c:pt>
                <c:pt idx="479">
                  <c:v>-0.39305200000000001</c:v>
                </c:pt>
                <c:pt idx="480">
                  <c:v>-0.41583100000000001</c:v>
                </c:pt>
                <c:pt idx="481">
                  <c:v>-0.47218900000000003</c:v>
                </c:pt>
                <c:pt idx="482">
                  <c:v>-0.49435400000000002</c:v>
                </c:pt>
                <c:pt idx="483">
                  <c:v>-0.46803600000000001</c:v>
                </c:pt>
                <c:pt idx="484">
                  <c:v>-0.45659699999999998</c:v>
                </c:pt>
                <c:pt idx="485">
                  <c:v>-0.41309400000000002</c:v>
                </c:pt>
                <c:pt idx="486">
                  <c:v>-0.256517</c:v>
                </c:pt>
                <c:pt idx="487">
                  <c:v>-0.189967</c:v>
                </c:pt>
                <c:pt idx="488">
                  <c:v>-0.24490600000000001</c:v>
                </c:pt>
                <c:pt idx="489">
                  <c:v>-0.200462</c:v>
                </c:pt>
                <c:pt idx="490">
                  <c:v>-6.6961000000000007E-2</c:v>
                </c:pt>
                <c:pt idx="491">
                  <c:v>8.2979999999999998E-3</c:v>
                </c:pt>
                <c:pt idx="492">
                  <c:v>9.4277E-2</c:v>
                </c:pt>
                <c:pt idx="493">
                  <c:v>0.167624</c:v>
                </c:pt>
                <c:pt idx="494">
                  <c:v>0.217448</c:v>
                </c:pt>
                <c:pt idx="495">
                  <c:v>3.8265E-2</c:v>
                </c:pt>
                <c:pt idx="496">
                  <c:v>-7.3816000000000007E-2</c:v>
                </c:pt>
                <c:pt idx="497">
                  <c:v>6.4859999999999996E-3</c:v>
                </c:pt>
                <c:pt idx="498">
                  <c:v>8.2418000000000005E-2</c:v>
                </c:pt>
                <c:pt idx="499">
                  <c:v>0.16650699999999999</c:v>
                </c:pt>
                <c:pt idx="500">
                  <c:v>0.33080599999999999</c:v>
                </c:pt>
                <c:pt idx="501">
                  <c:v>0.39433099999999999</c:v>
                </c:pt>
                <c:pt idx="502">
                  <c:v>0.33751700000000001</c:v>
                </c:pt>
                <c:pt idx="503">
                  <c:v>0.49287599999999998</c:v>
                </c:pt>
                <c:pt idx="504">
                  <c:v>0.73511899999999997</c:v>
                </c:pt>
                <c:pt idx="505">
                  <c:v>0.84764600000000001</c:v>
                </c:pt>
                <c:pt idx="506">
                  <c:v>0.89193599999999995</c:v>
                </c:pt>
                <c:pt idx="507">
                  <c:v>1.008926</c:v>
                </c:pt>
                <c:pt idx="508">
                  <c:v>1.0416559999999999</c:v>
                </c:pt>
                <c:pt idx="509">
                  <c:v>0.71719100000000002</c:v>
                </c:pt>
                <c:pt idx="510">
                  <c:v>0.48739399999999999</c:v>
                </c:pt>
                <c:pt idx="511">
                  <c:v>0.41572199999999998</c:v>
                </c:pt>
                <c:pt idx="512">
                  <c:v>0.46303699999999998</c:v>
                </c:pt>
                <c:pt idx="513">
                  <c:v>0.37473099999999998</c:v>
                </c:pt>
                <c:pt idx="514">
                  <c:v>0.45799099999999998</c:v>
                </c:pt>
                <c:pt idx="515">
                  <c:v>0.42603400000000002</c:v>
                </c:pt>
                <c:pt idx="516">
                  <c:v>0.31042900000000001</c:v>
                </c:pt>
                <c:pt idx="517">
                  <c:v>0.185451</c:v>
                </c:pt>
                <c:pt idx="518">
                  <c:v>0.128328</c:v>
                </c:pt>
                <c:pt idx="519">
                  <c:v>4.1196999999999998E-2</c:v>
                </c:pt>
                <c:pt idx="520">
                  <c:v>-2.7925999999999999E-2</c:v>
                </c:pt>
                <c:pt idx="521">
                  <c:v>-6.8732000000000001E-2</c:v>
                </c:pt>
                <c:pt idx="522">
                  <c:v>-6.6755999999999996E-2</c:v>
                </c:pt>
                <c:pt idx="523">
                  <c:v>-0.175923</c:v>
                </c:pt>
                <c:pt idx="524">
                  <c:v>-0.24814600000000001</c:v>
                </c:pt>
                <c:pt idx="525">
                  <c:v>-0.32049499999999997</c:v>
                </c:pt>
                <c:pt idx="526">
                  <c:v>-0.32979999999999998</c:v>
                </c:pt>
                <c:pt idx="527">
                  <c:v>-0.36799700000000002</c:v>
                </c:pt>
                <c:pt idx="528">
                  <c:v>-0.33704000000000001</c:v>
                </c:pt>
                <c:pt idx="529">
                  <c:v>-0.36441400000000002</c:v>
                </c:pt>
                <c:pt idx="530">
                  <c:v>-0.38555899999999999</c:v>
                </c:pt>
                <c:pt idx="531">
                  <c:v>-0.44211600000000001</c:v>
                </c:pt>
                <c:pt idx="532">
                  <c:v>-0.415516</c:v>
                </c:pt>
                <c:pt idx="533">
                  <c:v>-0.41543000000000002</c:v>
                </c:pt>
                <c:pt idx="534">
                  <c:v>-0.40583200000000003</c:v>
                </c:pt>
                <c:pt idx="535">
                  <c:v>-0.39404299999999998</c:v>
                </c:pt>
                <c:pt idx="536">
                  <c:v>-0.34978500000000001</c:v>
                </c:pt>
                <c:pt idx="537">
                  <c:v>-0.40397100000000002</c:v>
                </c:pt>
                <c:pt idx="538">
                  <c:v>-0.43343999999999999</c:v>
                </c:pt>
                <c:pt idx="539">
                  <c:v>-0.44864100000000001</c:v>
                </c:pt>
                <c:pt idx="540">
                  <c:v>-0.43691099999999999</c:v>
                </c:pt>
                <c:pt idx="541">
                  <c:v>-0.44050800000000001</c:v>
                </c:pt>
                <c:pt idx="542">
                  <c:v>-0.41443600000000003</c:v>
                </c:pt>
                <c:pt idx="543">
                  <c:v>-0.40314899999999998</c:v>
                </c:pt>
                <c:pt idx="544">
                  <c:v>-0.44218000000000002</c:v>
                </c:pt>
                <c:pt idx="545">
                  <c:v>-0.44542100000000001</c:v>
                </c:pt>
                <c:pt idx="546">
                  <c:v>-0.37485000000000002</c:v>
                </c:pt>
                <c:pt idx="547">
                  <c:v>-0.35155399999999998</c:v>
                </c:pt>
                <c:pt idx="548">
                  <c:v>-0.32543800000000001</c:v>
                </c:pt>
                <c:pt idx="549">
                  <c:v>-0.26435500000000001</c:v>
                </c:pt>
                <c:pt idx="550">
                  <c:v>-0.22817899999999999</c:v>
                </c:pt>
                <c:pt idx="551">
                  <c:v>-0.330137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C8-4E7B-83D3-5242563E84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pocet_PCR_testu_65_100_000_7dni_nyni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53</c:f>
              <c:numCache>
                <c:formatCode>m/d/yyyy</c:formatCode>
                <c:ptCount val="55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</c:numCache>
            </c:numRef>
          </c:cat>
          <c:val>
            <c:numRef>
              <c:f>Sheet1!$B$2:$B$553</c:f>
              <c:numCache>
                <c:formatCode>#\ ##0.0</c:formatCode>
                <c:ptCount val="552"/>
                <c:pt idx="0">
                  <c:v>364.54245474030199</c:v>
                </c:pt>
                <c:pt idx="1">
                  <c:v>372.511608555164</c:v>
                </c:pt>
                <c:pt idx="2">
                  <c:v>379.32245512949402</c:v>
                </c:pt>
                <c:pt idx="3">
                  <c:v>388.54258076412998</c:v>
                </c:pt>
                <c:pt idx="4">
                  <c:v>389.654555715041</c:v>
                </c:pt>
                <c:pt idx="5">
                  <c:v>393.03681285739498</c:v>
                </c:pt>
                <c:pt idx="6">
                  <c:v>387.47693810284102</c:v>
                </c:pt>
                <c:pt idx="7">
                  <c:v>403.09091970521501</c:v>
                </c:pt>
                <c:pt idx="8">
                  <c:v>407.770480956965</c:v>
                </c:pt>
                <c:pt idx="9">
                  <c:v>424.86709582175928</c:v>
                </c:pt>
                <c:pt idx="10">
                  <c:v>441.77838153899103</c:v>
                </c:pt>
                <c:pt idx="11">
                  <c:v>464.62020032228702</c:v>
                </c:pt>
                <c:pt idx="12">
                  <c:v>478.42722262943101</c:v>
                </c:pt>
                <c:pt idx="13">
                  <c:v>491.35393143377098</c:v>
                </c:pt>
                <c:pt idx="14">
                  <c:v>500.01806959295197</c:v>
                </c:pt>
                <c:pt idx="15">
                  <c:v>525.63982575352497</c:v>
                </c:pt>
                <c:pt idx="16">
                  <c:v>552.69788289235805</c:v>
                </c:pt>
                <c:pt idx="17">
                  <c:v>551.86390167917398</c:v>
                </c:pt>
                <c:pt idx="18">
                  <c:v>550.05694238394403</c:v>
                </c:pt>
                <c:pt idx="19">
                  <c:v>560.15738152138499</c:v>
                </c:pt>
                <c:pt idx="20">
                  <c:v>576.18835373035097</c:v>
                </c:pt>
                <c:pt idx="21">
                  <c:v>593.51663004871295</c:v>
                </c:pt>
                <c:pt idx="22">
                  <c:v>601.62478073243904</c:v>
                </c:pt>
                <c:pt idx="23">
                  <c:v>607.69431067282801</c:v>
                </c:pt>
                <c:pt idx="24">
                  <c:v>624.65192867422002</c:v>
                </c:pt>
                <c:pt idx="25">
                  <c:v>633.6403928587963</c:v>
                </c:pt>
                <c:pt idx="26">
                  <c:v>631.18478151082104</c:v>
                </c:pt>
                <c:pt idx="27">
                  <c:v>597.36221008728</c:v>
                </c:pt>
                <c:pt idx="28">
                  <c:v>588.04941987340101</c:v>
                </c:pt>
                <c:pt idx="29">
                  <c:v>609.686599126543</c:v>
                </c:pt>
                <c:pt idx="30">
                  <c:v>625.20791614967504</c:v>
                </c:pt>
                <c:pt idx="31">
                  <c:v>649.81036193857994</c:v>
                </c:pt>
                <c:pt idx="32">
                  <c:v>668.38961007671696</c:v>
                </c:pt>
                <c:pt idx="33">
                  <c:v>677.74873258021705</c:v>
                </c:pt>
                <c:pt idx="34">
                  <c:v>738.53669656334796</c:v>
                </c:pt>
                <c:pt idx="35">
                  <c:v>784.49832786766694</c:v>
                </c:pt>
                <c:pt idx="36">
                  <c:v>805.06986445951895</c:v>
                </c:pt>
                <c:pt idx="37">
                  <c:v>812.01970790271298</c:v>
                </c:pt>
                <c:pt idx="38">
                  <c:v>834.21287463131</c:v>
                </c:pt>
                <c:pt idx="39">
                  <c:v>841.30171494336798</c:v>
                </c:pt>
                <c:pt idx="40">
                  <c:v>860.57594743055552</c:v>
                </c:pt>
                <c:pt idx="41">
                  <c:v>886.29036816563905</c:v>
                </c:pt>
                <c:pt idx="42">
                  <c:v>946.47601238369396</c:v>
                </c:pt>
                <c:pt idx="43">
                  <c:v>1012.91651570062</c:v>
                </c:pt>
                <c:pt idx="44">
                  <c:v>1066.8936331094201</c:v>
                </c:pt>
                <c:pt idx="45">
                  <c:v>1134.2144499291501</c:v>
                </c:pt>
                <c:pt idx="46">
                  <c:v>1198.6626647923699</c:v>
                </c:pt>
                <c:pt idx="47">
                  <c:v>1225.5353927727101</c:v>
                </c:pt>
                <c:pt idx="48">
                  <c:v>1269.6900647817999</c:v>
                </c:pt>
                <c:pt idx="49">
                  <c:v>1312.91809099847</c:v>
                </c:pt>
                <c:pt idx="50">
                  <c:v>1372.0844248495371</c:v>
                </c:pt>
                <c:pt idx="51">
                  <c:v>1450.4323265944499</c:v>
                </c:pt>
                <c:pt idx="52">
                  <c:v>1491.99239038475</c:v>
                </c:pt>
                <c:pt idx="53">
                  <c:v>1538.4173445833333</c:v>
                </c:pt>
                <c:pt idx="54">
                  <c:v>1568.7649942872199</c:v>
                </c:pt>
                <c:pt idx="55">
                  <c:v>1629.5992905599801</c:v>
                </c:pt>
                <c:pt idx="56">
                  <c:v>1690.24825767424</c:v>
                </c:pt>
                <c:pt idx="57">
                  <c:v>1664.1168463310185</c:v>
                </c:pt>
                <c:pt idx="58">
                  <c:v>1665.36781814761</c:v>
                </c:pt>
                <c:pt idx="59">
                  <c:v>1709.7078193151899</c:v>
                </c:pt>
                <c:pt idx="60">
                  <c:v>1733.56894847015</c:v>
                </c:pt>
                <c:pt idx="61">
                  <c:v>1738.1095128530401</c:v>
                </c:pt>
                <c:pt idx="62">
                  <c:v>1712.67308585095</c:v>
                </c:pt>
                <c:pt idx="63">
                  <c:v>1711.32944945193</c:v>
                </c:pt>
                <c:pt idx="64">
                  <c:v>1770.2177895605901</c:v>
                </c:pt>
                <c:pt idx="65">
                  <c:v>1820.25666235158</c:v>
                </c:pt>
                <c:pt idx="66">
                  <c:v>1815.80876254794</c:v>
                </c:pt>
                <c:pt idx="67">
                  <c:v>1775.9629934736299</c:v>
                </c:pt>
                <c:pt idx="68">
                  <c:v>1736.3025535578099</c:v>
                </c:pt>
                <c:pt idx="69">
                  <c:v>1736.4415504266699</c:v>
                </c:pt>
                <c:pt idx="70">
                  <c:v>1729.58437156272</c:v>
                </c:pt>
                <c:pt idx="71">
                  <c:v>1700.99734886638</c:v>
                </c:pt>
                <c:pt idx="72">
                  <c:v>1620.8424878215501</c:v>
                </c:pt>
                <c:pt idx="73">
                  <c:v>1560.51784673463</c:v>
                </c:pt>
                <c:pt idx="74">
                  <c:v>1491.6217320677799</c:v>
                </c:pt>
                <c:pt idx="75">
                  <c:v>1465.3049915628901</c:v>
                </c:pt>
                <c:pt idx="76">
                  <c:v>1438.2469344240501</c:v>
                </c:pt>
                <c:pt idx="77">
                  <c:v>1272.00667926287</c:v>
                </c:pt>
                <c:pt idx="78">
                  <c:v>1202.9715677271499</c:v>
                </c:pt>
                <c:pt idx="79">
                  <c:v>1155.71263231343</c:v>
                </c:pt>
                <c:pt idx="80">
                  <c:v>1094.18335169636</c:v>
                </c:pt>
                <c:pt idx="81">
                  <c:v>1082.6002792910399</c:v>
                </c:pt>
                <c:pt idx="82">
                  <c:v>1075.32610982049</c:v>
                </c:pt>
                <c:pt idx="83">
                  <c:v>1084.17557713816</c:v>
                </c:pt>
                <c:pt idx="84">
                  <c:v>1152.5620366191799</c:v>
                </c:pt>
                <c:pt idx="85">
                  <c:v>1123.6970201851852</c:v>
                </c:pt>
                <c:pt idx="86">
                  <c:v>1093.3957027728</c:v>
                </c:pt>
                <c:pt idx="87">
                  <c:v>1075.00178379315</c:v>
                </c:pt>
                <c:pt idx="88">
                  <c:v>1062.81639162275</c:v>
                </c:pt>
                <c:pt idx="89">
                  <c:v>1056.2835387861401</c:v>
                </c:pt>
                <c:pt idx="90">
                  <c:v>1025.19457245026</c:v>
                </c:pt>
                <c:pt idx="91">
                  <c:v>998.97049652461396</c:v>
                </c:pt>
                <c:pt idx="92">
                  <c:v>999.34115484158497</c:v>
                </c:pt>
                <c:pt idx="93">
                  <c:v>979.18660885632403</c:v>
                </c:pt>
                <c:pt idx="94">
                  <c:v>976.08234545169796</c:v>
                </c:pt>
                <c:pt idx="95">
                  <c:v>973.99739241873999</c:v>
                </c:pt>
                <c:pt idx="96">
                  <c:v>974.50704760457404</c:v>
                </c:pt>
                <c:pt idx="97">
                  <c:v>973.81206326025404</c:v>
                </c:pt>
                <c:pt idx="98">
                  <c:v>989.24071570414401</c:v>
                </c:pt>
                <c:pt idx="99">
                  <c:v>994.19827069362202</c:v>
                </c:pt>
                <c:pt idx="100">
                  <c:v>1012.12886677706</c:v>
                </c:pt>
                <c:pt idx="101">
                  <c:v>1046.69275483454</c:v>
                </c:pt>
                <c:pt idx="102">
                  <c:v>1060.1754511143299</c:v>
                </c:pt>
                <c:pt idx="103">
                  <c:v>1071.3415329130601</c:v>
                </c:pt>
                <c:pt idx="104">
                  <c:v>1086.1678655918799</c:v>
                </c:pt>
                <c:pt idx="105">
                  <c:v>1097.61194112833</c:v>
                </c:pt>
                <c:pt idx="106">
                  <c:v>1122.3533837861</c:v>
                </c:pt>
                <c:pt idx="107">
                  <c:v>1137.0407195960499</c:v>
                </c:pt>
                <c:pt idx="108">
                  <c:v>1135.8360800659</c:v>
                </c:pt>
                <c:pt idx="109">
                  <c:v>1154.5543250728999</c:v>
                </c:pt>
                <c:pt idx="110">
                  <c:v>1161.3188393576099</c:v>
                </c:pt>
                <c:pt idx="111">
                  <c:v>1166.41539121595</c:v>
                </c:pt>
                <c:pt idx="112">
                  <c:v>1184.11432585128</c:v>
                </c:pt>
                <c:pt idx="113">
                  <c:v>1211.03338612125</c:v>
                </c:pt>
                <c:pt idx="114">
                  <c:v>1097.7509379972</c:v>
                </c:pt>
                <c:pt idx="115">
                  <c:v>970.93946130373502</c:v>
                </c:pt>
                <c:pt idx="116">
                  <c:v>918.027986556222</c:v>
                </c:pt>
                <c:pt idx="117">
                  <c:v>923.58786131077704</c:v>
                </c:pt>
                <c:pt idx="118">
                  <c:v>934.93927226799303</c:v>
                </c:pt>
                <c:pt idx="119">
                  <c:v>971.68077793767497</c:v>
                </c:pt>
                <c:pt idx="120">
                  <c:v>1005.96667225742</c:v>
                </c:pt>
                <c:pt idx="121">
                  <c:v>1149.1797794768299</c:v>
                </c:pt>
                <c:pt idx="122">
                  <c:v>1148.9017857391</c:v>
                </c:pt>
                <c:pt idx="123">
                  <c:v>1192.9174608793301</c:v>
                </c:pt>
                <c:pt idx="124">
                  <c:v>1227.8520072537799</c:v>
                </c:pt>
                <c:pt idx="125">
                  <c:v>1280.5781528428099</c:v>
                </c:pt>
                <c:pt idx="126">
                  <c:v>1341.4587814051799</c:v>
                </c:pt>
                <c:pt idx="127">
                  <c:v>1361.5206628112001</c:v>
                </c:pt>
                <c:pt idx="128">
                  <c:v>1455.4825461631699</c:v>
                </c:pt>
                <c:pt idx="129">
                  <c:v>1676.90455826331</c:v>
                </c:pt>
                <c:pt idx="130">
                  <c:v>1707.9935245992001</c:v>
                </c:pt>
                <c:pt idx="131">
                  <c:v>1686.4490099253001</c:v>
                </c:pt>
                <c:pt idx="132">
                  <c:v>1670.5570345852</c:v>
                </c:pt>
                <c:pt idx="133">
                  <c:v>1610.5567195256299</c:v>
                </c:pt>
                <c:pt idx="134">
                  <c:v>1555.0969688489399</c:v>
                </c:pt>
                <c:pt idx="135">
                  <c:v>1468.5482518363799</c:v>
                </c:pt>
                <c:pt idx="136">
                  <c:v>1386.26210546897</c:v>
                </c:pt>
                <c:pt idx="137">
                  <c:v>1358.74072543392</c:v>
                </c:pt>
                <c:pt idx="138">
                  <c:v>1336.3622295468399</c:v>
                </c:pt>
                <c:pt idx="139">
                  <c:v>1296.3774636036601</c:v>
                </c:pt>
                <c:pt idx="140">
                  <c:v>1264.7325097923199</c:v>
                </c:pt>
                <c:pt idx="141">
                  <c:v>1233.8288726149201</c:v>
                </c:pt>
                <c:pt idx="142">
                  <c:v>1190.3228526605301</c:v>
                </c:pt>
                <c:pt idx="143">
                  <c:v>1179.66642604764</c:v>
                </c:pt>
                <c:pt idx="144">
                  <c:v>1161.7358299642001</c:v>
                </c:pt>
                <c:pt idx="145">
                  <c:v>1158.58523426995</c:v>
                </c:pt>
                <c:pt idx="146">
                  <c:v>1148.5311274221301</c:v>
                </c:pt>
                <c:pt idx="147">
                  <c:v>1126.94028045861</c:v>
                </c:pt>
                <c:pt idx="148">
                  <c:v>1133.2878041367301</c:v>
                </c:pt>
                <c:pt idx="149">
                  <c:v>1136.0677415140001</c:v>
                </c:pt>
                <c:pt idx="150">
                  <c:v>1134.90943427347</c:v>
                </c:pt>
                <c:pt idx="151">
                  <c:v>1127.0329450378499</c:v>
                </c:pt>
                <c:pt idx="152">
                  <c:v>1118.97112664375</c:v>
                </c:pt>
                <c:pt idx="153">
                  <c:v>1119.11012351261</c:v>
                </c:pt>
                <c:pt idx="154">
                  <c:v>1128.2375845680101</c:v>
                </c:pt>
                <c:pt idx="155">
                  <c:v>1116.0985246872301</c:v>
                </c:pt>
                <c:pt idx="156">
                  <c:v>1127.9132585406601</c:v>
                </c:pt>
                <c:pt idx="157">
                  <c:v>1123.1410327096601</c:v>
                </c:pt>
                <c:pt idx="158">
                  <c:v>1128.7009074642201</c:v>
                </c:pt>
                <c:pt idx="159">
                  <c:v>1132.7318166612699</c:v>
                </c:pt>
                <c:pt idx="160">
                  <c:v>1113.5039164684399</c:v>
                </c:pt>
                <c:pt idx="161">
                  <c:v>1113.73557791654</c:v>
                </c:pt>
                <c:pt idx="162">
                  <c:v>1101.2258597187999</c:v>
                </c:pt>
                <c:pt idx="163">
                  <c:v>1076.7160785091301</c:v>
                </c:pt>
                <c:pt idx="164">
                  <c:v>1068.9322538541667</c:v>
                </c:pt>
                <c:pt idx="165">
                  <c:v>1068.19093721882</c:v>
                </c:pt>
                <c:pt idx="166">
                  <c:v>1065.5036644207801</c:v>
                </c:pt>
                <c:pt idx="167">
                  <c:v>1082.6002792910399</c:v>
                </c:pt>
                <c:pt idx="168">
                  <c:v>1078.98636070058</c:v>
                </c:pt>
                <c:pt idx="169">
                  <c:v>1084.5925677447501</c:v>
                </c:pt>
                <c:pt idx="170">
                  <c:v>1108.31470003085</c:v>
                </c:pt>
                <c:pt idx="171">
                  <c:v>1129.4422240981601</c:v>
                </c:pt>
                <c:pt idx="172">
                  <c:v>1138.2453591262099</c:v>
                </c:pt>
                <c:pt idx="173">
                  <c:v>1145.10253799016</c:v>
                </c:pt>
                <c:pt idx="174">
                  <c:v>1166.3690589263299</c:v>
                </c:pt>
                <c:pt idx="175">
                  <c:v>1197.4116929725899</c:v>
                </c:pt>
                <c:pt idx="176">
                  <c:v>1225.62805735196</c:v>
                </c:pt>
                <c:pt idx="177">
                  <c:v>1247.0799074466099</c:v>
                </c:pt>
                <c:pt idx="178">
                  <c:v>1276.17658532878</c:v>
                </c:pt>
                <c:pt idx="179">
                  <c:v>1284.93338806721</c:v>
                </c:pt>
                <c:pt idx="180">
                  <c:v>1285.2113818049299</c:v>
                </c:pt>
                <c:pt idx="181">
                  <c:v>1287.6206608652401</c:v>
                </c:pt>
                <c:pt idx="182">
                  <c:v>1314.4007242663499</c:v>
                </c:pt>
                <c:pt idx="183">
                  <c:v>1331.1266808196301</c:v>
                </c:pt>
                <c:pt idx="184">
                  <c:v>1336.2232326779699</c:v>
                </c:pt>
                <c:pt idx="185">
                  <c:v>1338.9568377656301</c:v>
                </c:pt>
                <c:pt idx="186">
                  <c:v>1339.2348315033601</c:v>
                </c:pt>
                <c:pt idx="187">
                  <c:v>1343.9143927551099</c:v>
                </c:pt>
                <c:pt idx="188">
                  <c:v>1331.82166516395</c:v>
                </c:pt>
                <c:pt idx="189">
                  <c:v>1295.21915636313</c:v>
                </c:pt>
                <c:pt idx="190">
                  <c:v>1293.69019080563</c:v>
                </c:pt>
                <c:pt idx="191">
                  <c:v>1283.12642877198</c:v>
                </c:pt>
                <c:pt idx="192">
                  <c:v>1266.67846595642</c:v>
                </c:pt>
                <c:pt idx="193">
                  <c:v>1257.6436694802701</c:v>
                </c:pt>
                <c:pt idx="194">
                  <c:v>1246.7555814192599</c:v>
                </c:pt>
                <c:pt idx="195">
                  <c:v>1251.8521332776099</c:v>
                </c:pt>
                <c:pt idx="196">
                  <c:v>1254.49307378602</c:v>
                </c:pt>
                <c:pt idx="197">
                  <c:v>1236.8868037299301</c:v>
                </c:pt>
                <c:pt idx="198">
                  <c:v>1220.4851732039899</c:v>
                </c:pt>
                <c:pt idx="199">
                  <c:v>1193.2881191962999</c:v>
                </c:pt>
                <c:pt idx="200">
                  <c:v>1190.55451410864</c:v>
                </c:pt>
                <c:pt idx="201">
                  <c:v>1196.6703763386499</c:v>
                </c:pt>
                <c:pt idx="202">
                  <c:v>1171.6972722327801</c:v>
                </c:pt>
                <c:pt idx="203">
                  <c:v>1153.7203438597201</c:v>
                </c:pt>
                <c:pt idx="204">
                  <c:v>1110.8629759600201</c:v>
                </c:pt>
                <c:pt idx="205">
                  <c:v>1097.61194112833</c:v>
                </c:pt>
                <c:pt idx="206">
                  <c:v>1072.4535078639699</c:v>
                </c:pt>
                <c:pt idx="207">
                  <c:v>1054.6619086493999</c:v>
                </c:pt>
                <c:pt idx="208">
                  <c:v>1039.6502468121</c:v>
                </c:pt>
                <c:pt idx="209">
                  <c:v>1044.4688049327201</c:v>
                </c:pt>
                <c:pt idx="210">
                  <c:v>1017.64240924199</c:v>
                </c:pt>
                <c:pt idx="211">
                  <c:v>1006.75432118099</c:v>
                </c:pt>
                <c:pt idx="212">
                  <c:v>975.34102881775698</c:v>
                </c:pt>
                <c:pt idx="213">
                  <c:v>894.90817403519895</c:v>
                </c:pt>
                <c:pt idx="214">
                  <c:v>864.51419204363299</c:v>
                </c:pt>
                <c:pt idx="215">
                  <c:v>870.07406679818803</c:v>
                </c:pt>
                <c:pt idx="216">
                  <c:v>746.83017640555897</c:v>
                </c:pt>
                <c:pt idx="217">
                  <c:v>731.447856251291</c:v>
                </c:pt>
                <c:pt idx="218">
                  <c:v>745.39387542729901</c:v>
                </c:pt>
                <c:pt idx="219">
                  <c:v>739.97299754160804</c:v>
                </c:pt>
                <c:pt idx="220">
                  <c:v>789.78020888449396</c:v>
                </c:pt>
                <c:pt idx="221">
                  <c:v>806.50616543777903</c:v>
                </c:pt>
                <c:pt idx="222">
                  <c:v>796.26672943147503</c:v>
                </c:pt>
                <c:pt idx="223">
                  <c:v>889.02397325329503</c:v>
                </c:pt>
                <c:pt idx="224">
                  <c:v>878.18221748191399</c:v>
                </c:pt>
                <c:pt idx="225">
                  <c:v>836.85381513972402</c:v>
                </c:pt>
                <c:pt idx="226">
                  <c:v>816.93093060256899</c:v>
                </c:pt>
                <c:pt idx="227">
                  <c:v>802.24359479262102</c:v>
                </c:pt>
                <c:pt idx="228">
                  <c:v>786.90760692797403</c:v>
                </c:pt>
                <c:pt idx="229">
                  <c:v>787.78792043077897</c:v>
                </c:pt>
                <c:pt idx="230">
                  <c:v>770.41331182279498</c:v>
                </c:pt>
                <c:pt idx="231">
                  <c:v>749.47111691397197</c:v>
                </c:pt>
                <c:pt idx="232">
                  <c:v>733.90346760121895</c:v>
                </c:pt>
                <c:pt idx="233">
                  <c:v>723.33970556756503</c:v>
                </c:pt>
                <c:pt idx="234">
                  <c:v>706.61374901427996</c:v>
                </c:pt>
                <c:pt idx="235">
                  <c:v>704.62146056056497</c:v>
                </c:pt>
                <c:pt idx="236">
                  <c:v>696.46697758721803</c:v>
                </c:pt>
                <c:pt idx="237">
                  <c:v>688.26616232424999</c:v>
                </c:pt>
                <c:pt idx="238">
                  <c:v>672.69851301149595</c:v>
                </c:pt>
                <c:pt idx="239">
                  <c:v>665.74866956830294</c:v>
                </c:pt>
                <c:pt idx="240">
                  <c:v>660.79111457882505</c:v>
                </c:pt>
                <c:pt idx="241">
                  <c:v>663.84904569383002</c:v>
                </c:pt>
                <c:pt idx="242">
                  <c:v>662.55174158443401</c:v>
                </c:pt>
                <c:pt idx="243">
                  <c:v>662.96873219102599</c:v>
                </c:pt>
                <c:pt idx="244">
                  <c:v>656.48221164404504</c:v>
                </c:pt>
                <c:pt idx="245">
                  <c:v>653.56327739790402</c:v>
                </c:pt>
                <c:pt idx="246">
                  <c:v>644.85280694910205</c:v>
                </c:pt>
                <c:pt idx="247">
                  <c:v>629.09982847786296</c:v>
                </c:pt>
                <c:pt idx="248">
                  <c:v>612.23487505571404</c:v>
                </c:pt>
                <c:pt idx="249">
                  <c:v>605.93368366721904</c:v>
                </c:pt>
                <c:pt idx="250">
                  <c:v>601.57844844281794</c:v>
                </c:pt>
                <c:pt idx="251">
                  <c:v>596.11123826750497</c:v>
                </c:pt>
                <c:pt idx="252">
                  <c:v>578.69029736990103</c:v>
                </c:pt>
                <c:pt idx="253">
                  <c:v>568.31186449473205</c:v>
                </c:pt>
                <c:pt idx="254">
                  <c:v>567.01456038533604</c:v>
                </c:pt>
                <c:pt idx="255">
                  <c:v>562.93731889866206</c:v>
                </c:pt>
                <c:pt idx="256">
                  <c:v>560.06471694214304</c:v>
                </c:pt>
                <c:pt idx="257">
                  <c:v>558.30408993653396</c:v>
                </c:pt>
                <c:pt idx="258">
                  <c:v>547.41600187553104</c:v>
                </c:pt>
                <c:pt idx="259">
                  <c:v>537.68622105505995</c:v>
                </c:pt>
                <c:pt idx="260">
                  <c:v>528.83675373739402</c:v>
                </c:pt>
                <c:pt idx="261">
                  <c:v>521.23825823950199</c:v>
                </c:pt>
                <c:pt idx="262">
                  <c:v>511.27681597092499</c:v>
                </c:pt>
                <c:pt idx="263">
                  <c:v>511.60114199827399</c:v>
                </c:pt>
                <c:pt idx="264">
                  <c:v>509.33085980683097</c:v>
                </c:pt>
                <c:pt idx="265">
                  <c:v>493.90220736294202</c:v>
                </c:pt>
                <c:pt idx="266">
                  <c:v>488.34233260838698</c:v>
                </c:pt>
                <c:pt idx="267">
                  <c:v>469.99474591835599</c:v>
                </c:pt>
                <c:pt idx="268">
                  <c:v>456.37305276969698</c:v>
                </c:pt>
                <c:pt idx="269">
                  <c:v>445.80929073604398</c:v>
                </c:pt>
                <c:pt idx="270">
                  <c:v>435.43085786087499</c:v>
                </c:pt>
                <c:pt idx="271">
                  <c:v>430.380638292154</c:v>
                </c:pt>
                <c:pt idx="272">
                  <c:v>422.13349073956499</c:v>
                </c:pt>
                <c:pt idx="273">
                  <c:v>408.37280072204197</c:v>
                </c:pt>
                <c:pt idx="274">
                  <c:v>408.04847469469303</c:v>
                </c:pt>
                <c:pt idx="275">
                  <c:v>414.53499524167302</c:v>
                </c:pt>
                <c:pt idx="276">
                  <c:v>419.12189191418099</c:v>
                </c:pt>
                <c:pt idx="277">
                  <c:v>416.29562224728198</c:v>
                </c:pt>
                <c:pt idx="278">
                  <c:v>415.600637902963</c:v>
                </c:pt>
                <c:pt idx="279">
                  <c:v>414.76665668978001</c:v>
                </c:pt>
                <c:pt idx="280">
                  <c:v>414.395998372809</c:v>
                </c:pt>
                <c:pt idx="281">
                  <c:v>418.38057528024001</c:v>
                </c:pt>
                <c:pt idx="282">
                  <c:v>408.41913301166301</c:v>
                </c:pt>
                <c:pt idx="283">
                  <c:v>407.35349035037399</c:v>
                </c:pt>
                <c:pt idx="284">
                  <c:v>406.797502874918</c:v>
                </c:pt>
                <c:pt idx="285">
                  <c:v>404.66621755233899</c:v>
                </c:pt>
                <c:pt idx="286">
                  <c:v>398.41135845346503</c:v>
                </c:pt>
                <c:pt idx="287">
                  <c:v>396.14107626202201</c:v>
                </c:pt>
                <c:pt idx="288">
                  <c:v>390.95185982443701</c:v>
                </c:pt>
                <c:pt idx="289">
                  <c:v>394.51944612527598</c:v>
                </c:pt>
                <c:pt idx="290">
                  <c:v>391.41518272065002</c:v>
                </c:pt>
                <c:pt idx="291">
                  <c:v>394.19512009792697</c:v>
                </c:pt>
                <c:pt idx="292">
                  <c:v>391.87850561686298</c:v>
                </c:pt>
                <c:pt idx="293">
                  <c:v>389.09856823958597</c:v>
                </c:pt>
                <c:pt idx="294">
                  <c:v>386.689289179279</c:v>
                </c:pt>
                <c:pt idx="295">
                  <c:v>380.341765501162</c:v>
                </c:pt>
                <c:pt idx="296">
                  <c:v>378.164147888961</c:v>
                </c:pt>
                <c:pt idx="297">
                  <c:v>372.97493145137702</c:v>
                </c:pt>
                <c:pt idx="298">
                  <c:v>369.222015992053</c:v>
                </c:pt>
                <c:pt idx="299">
                  <c:v>368.94402225432498</c:v>
                </c:pt>
                <c:pt idx="300">
                  <c:v>360.55787783287201</c:v>
                </c:pt>
                <c:pt idx="301">
                  <c:v>358.14859877256401</c:v>
                </c:pt>
                <c:pt idx="302">
                  <c:v>353.79336354816297</c:v>
                </c:pt>
                <c:pt idx="303">
                  <c:v>345.68521286443797</c:v>
                </c:pt>
                <c:pt idx="304">
                  <c:v>341.23731306079401</c:v>
                </c:pt>
                <c:pt idx="305">
                  <c:v>339.15236002783598</c:v>
                </c:pt>
                <c:pt idx="306">
                  <c:v>337.29906844298398</c:v>
                </c:pt>
                <c:pt idx="307">
                  <c:v>298.10195142337398</c:v>
                </c:pt>
                <c:pt idx="308">
                  <c:v>254.87392520671099</c:v>
                </c:pt>
                <c:pt idx="309">
                  <c:v>261.916433229147</c:v>
                </c:pt>
                <c:pt idx="310">
                  <c:v>272.20220152507301</c:v>
                </c:pt>
                <c:pt idx="311">
                  <c:v>272.80452129014998</c:v>
                </c:pt>
                <c:pt idx="312">
                  <c:v>278.50339291356801</c:v>
                </c:pt>
                <c:pt idx="313">
                  <c:v>280.44934907766299</c:v>
                </c:pt>
                <c:pt idx="314">
                  <c:v>314.36458508044598</c:v>
                </c:pt>
                <c:pt idx="315">
                  <c:v>349.252799165277</c:v>
                </c:pt>
                <c:pt idx="316">
                  <c:v>337.66972675995498</c:v>
                </c:pt>
                <c:pt idx="317">
                  <c:v>321.96308057833801</c:v>
                </c:pt>
                <c:pt idx="318">
                  <c:v>319.73913067651603</c:v>
                </c:pt>
                <c:pt idx="319">
                  <c:v>318.25649740863503</c:v>
                </c:pt>
                <c:pt idx="320">
                  <c:v>315.24489858325097</c:v>
                </c:pt>
                <c:pt idx="321">
                  <c:v>308.38771971929998</c:v>
                </c:pt>
                <c:pt idx="322">
                  <c:v>304.86646570808199</c:v>
                </c:pt>
                <c:pt idx="323">
                  <c:v>306.85875416179698</c:v>
                </c:pt>
                <c:pt idx="324">
                  <c:v>310.24101130415198</c:v>
                </c:pt>
                <c:pt idx="325">
                  <c:v>306.95141874104002</c:v>
                </c:pt>
                <c:pt idx="326">
                  <c:v>303.01317412322999</c:v>
                </c:pt>
                <c:pt idx="327">
                  <c:v>304.12514907414101</c:v>
                </c:pt>
                <c:pt idx="328">
                  <c:v>301.85486688269799</c:v>
                </c:pt>
                <c:pt idx="329">
                  <c:v>298.93593263655703</c:v>
                </c:pt>
                <c:pt idx="330">
                  <c:v>296.57298586587098</c:v>
                </c:pt>
                <c:pt idx="331">
                  <c:v>290.503455925482</c:v>
                </c:pt>
                <c:pt idx="332">
                  <c:v>290.04013302926899</c:v>
                </c:pt>
                <c:pt idx="333">
                  <c:v>292.44941208957601</c:v>
                </c:pt>
                <c:pt idx="334">
                  <c:v>290.41079134623999</c:v>
                </c:pt>
                <c:pt idx="335">
                  <c:v>287.35286023123501</c:v>
                </c:pt>
                <c:pt idx="336">
                  <c:v>285.12891032941297</c:v>
                </c:pt>
                <c:pt idx="337">
                  <c:v>285.26790719827699</c:v>
                </c:pt>
                <c:pt idx="338">
                  <c:v>285.684897804868</c:v>
                </c:pt>
                <c:pt idx="339">
                  <c:v>288.74282891987298</c:v>
                </c:pt>
                <c:pt idx="340">
                  <c:v>292.31041522071303</c:v>
                </c:pt>
                <c:pt idx="341">
                  <c:v>293.515054750866</c:v>
                </c:pt>
                <c:pt idx="342">
                  <c:v>297.96295455451002</c:v>
                </c:pt>
                <c:pt idx="343">
                  <c:v>304.58847197035402</c:v>
                </c:pt>
                <c:pt idx="344">
                  <c:v>302.41085435815398</c:v>
                </c:pt>
                <c:pt idx="345">
                  <c:v>305.42245318353702</c:v>
                </c:pt>
                <c:pt idx="346">
                  <c:v>310.61166962112202</c:v>
                </c:pt>
                <c:pt idx="347">
                  <c:v>308.341387429679</c:v>
                </c:pt>
                <c:pt idx="348">
                  <c:v>307.78539995422301</c:v>
                </c:pt>
                <c:pt idx="349">
                  <c:v>308.71204574664898</c:v>
                </c:pt>
                <c:pt idx="350">
                  <c:v>309.175368642862</c:v>
                </c:pt>
                <c:pt idx="351">
                  <c:v>318.48815885674099</c:v>
                </c:pt>
                <c:pt idx="352">
                  <c:v>320.52677960007799</c:v>
                </c:pt>
                <c:pt idx="353">
                  <c:v>318.53449114636197</c:v>
                </c:pt>
                <c:pt idx="354">
                  <c:v>317.42251619545101</c:v>
                </c:pt>
                <c:pt idx="355">
                  <c:v>318.44182656712002</c:v>
                </c:pt>
                <c:pt idx="356">
                  <c:v>322.00941286795899</c:v>
                </c:pt>
                <c:pt idx="357">
                  <c:v>320.01712441424399</c:v>
                </c:pt>
                <c:pt idx="358">
                  <c:v>315.75455376908502</c:v>
                </c:pt>
                <c:pt idx="359">
                  <c:v>320.01712441424399</c:v>
                </c:pt>
                <c:pt idx="360">
                  <c:v>327.52295533289202</c:v>
                </c:pt>
                <c:pt idx="361">
                  <c:v>330.21022813092702</c:v>
                </c:pt>
                <c:pt idx="362">
                  <c:v>334.287469617601</c:v>
                </c:pt>
                <c:pt idx="363">
                  <c:v>345.77787744367998</c:v>
                </c:pt>
                <c:pt idx="364">
                  <c:v>367.92471188265603</c:v>
                </c:pt>
                <c:pt idx="365">
                  <c:v>382.61204769260502</c:v>
                </c:pt>
                <c:pt idx="366">
                  <c:v>382.61204769260502</c:v>
                </c:pt>
                <c:pt idx="367">
                  <c:v>381.40740816245199</c:v>
                </c:pt>
                <c:pt idx="368">
                  <c:v>381.26841129629628</c:v>
                </c:pt>
                <c:pt idx="369">
                  <c:v>378.58113849555298</c:v>
                </c:pt>
                <c:pt idx="370">
                  <c:v>366.720072352503</c:v>
                </c:pt>
                <c:pt idx="371">
                  <c:v>347.399507580425</c:v>
                </c:pt>
                <c:pt idx="372">
                  <c:v>340.21800268912602</c:v>
                </c:pt>
                <c:pt idx="373">
                  <c:v>345.45355141633098</c:v>
                </c:pt>
                <c:pt idx="374">
                  <c:v>350.225777247324</c:v>
                </c:pt>
                <c:pt idx="375">
                  <c:v>354.48834789248298</c:v>
                </c:pt>
                <c:pt idx="376">
                  <c:v>353.83969583778497</c:v>
                </c:pt>
                <c:pt idx="377">
                  <c:v>371.07530757690398</c:v>
                </c:pt>
                <c:pt idx="378">
                  <c:v>375.33787822206301</c:v>
                </c:pt>
                <c:pt idx="379">
                  <c:v>369.63900659864402</c:v>
                </c:pt>
                <c:pt idx="380">
                  <c:v>366.67374006288202</c:v>
                </c:pt>
                <c:pt idx="381">
                  <c:v>370.380323232585</c:v>
                </c:pt>
                <c:pt idx="382">
                  <c:v>366.30308174591102</c:v>
                </c:pt>
                <c:pt idx="383">
                  <c:v>365.515432822349</c:v>
                </c:pt>
                <c:pt idx="384">
                  <c:v>362.27217254885898</c:v>
                </c:pt>
                <c:pt idx="385">
                  <c:v>363.66214123749802</c:v>
                </c:pt>
                <c:pt idx="386">
                  <c:v>375.523207380548</c:v>
                </c:pt>
                <c:pt idx="387">
                  <c:v>382.61204769260502</c:v>
                </c:pt>
                <c:pt idx="388">
                  <c:v>388.58891305375101</c:v>
                </c:pt>
                <c:pt idx="389">
                  <c:v>391.36885043102899</c:v>
                </c:pt>
                <c:pt idx="390">
                  <c:v>393.82446178095699</c:v>
                </c:pt>
                <c:pt idx="391">
                  <c:v>399.38433653551198</c:v>
                </c:pt>
                <c:pt idx="392">
                  <c:v>374.318567850394</c:v>
                </c:pt>
                <c:pt idx="393">
                  <c:v>371.63129505235997</c:v>
                </c:pt>
                <c:pt idx="394">
                  <c:v>379.97110718419202</c:v>
                </c:pt>
                <c:pt idx="395">
                  <c:v>376.12552714562503</c:v>
                </c:pt>
                <c:pt idx="396">
                  <c:v>376.44985317297397</c:v>
                </c:pt>
                <c:pt idx="397">
                  <c:v>375.80120111827603</c:v>
                </c:pt>
                <c:pt idx="398">
                  <c:v>366.34941403553302</c:v>
                </c:pt>
                <c:pt idx="399">
                  <c:v>397.94803555725201</c:v>
                </c:pt>
                <c:pt idx="400">
                  <c:v>399.43066882513301</c:v>
                </c:pt>
                <c:pt idx="401">
                  <c:v>392.48082538194001</c:v>
                </c:pt>
                <c:pt idx="402">
                  <c:v>390.07154632163298</c:v>
                </c:pt>
                <c:pt idx="403">
                  <c:v>387.24527665473403</c:v>
                </c:pt>
                <c:pt idx="404">
                  <c:v>387.80126413019002</c:v>
                </c:pt>
                <c:pt idx="405">
                  <c:v>392.110167064969</c:v>
                </c:pt>
                <c:pt idx="406">
                  <c:v>389.79355258390501</c:v>
                </c:pt>
                <c:pt idx="407">
                  <c:v>414.21066921432401</c:v>
                </c:pt>
                <c:pt idx="408">
                  <c:v>420.23386686509201</c:v>
                </c:pt>
                <c:pt idx="409">
                  <c:v>433.76289543450798</c:v>
                </c:pt>
                <c:pt idx="410">
                  <c:v>444.78998036437503</c:v>
                </c:pt>
                <c:pt idx="411">
                  <c:v>451.46183006984103</c:v>
                </c:pt>
                <c:pt idx="412">
                  <c:v>464.75919719115097</c:v>
                </c:pt>
                <c:pt idx="413">
                  <c:v>499.415749827875</c:v>
                </c:pt>
                <c:pt idx="414">
                  <c:v>499.23042066939001</c:v>
                </c:pt>
                <c:pt idx="415">
                  <c:v>536.66691068339196</c:v>
                </c:pt>
                <c:pt idx="416">
                  <c:v>566.64390206836595</c:v>
                </c:pt>
                <c:pt idx="417">
                  <c:v>587.12277408097498</c:v>
                </c:pt>
                <c:pt idx="418">
                  <c:v>601.43945157395399</c:v>
                </c:pt>
                <c:pt idx="419">
                  <c:v>628.17318268543795</c:v>
                </c:pt>
                <c:pt idx="420">
                  <c:v>671.77186721907105</c:v>
                </c:pt>
                <c:pt idx="421">
                  <c:v>713.74892161595903</c:v>
                </c:pt>
                <c:pt idx="422">
                  <c:v>687.33951653182396</c:v>
                </c:pt>
                <c:pt idx="423">
                  <c:v>714.44390596027802</c:v>
                </c:pt>
                <c:pt idx="424">
                  <c:v>750.16610125829197</c:v>
                </c:pt>
                <c:pt idx="425">
                  <c:v>781.99638422811699</c:v>
                </c:pt>
                <c:pt idx="426">
                  <c:v>835.83450476805501</c:v>
                </c:pt>
                <c:pt idx="427">
                  <c:v>848.66854899315297</c:v>
                </c:pt>
                <c:pt idx="428">
                  <c:v>862.93889419650998</c:v>
                </c:pt>
                <c:pt idx="429">
                  <c:v>931.37168596715401</c:v>
                </c:pt>
                <c:pt idx="430">
                  <c:v>949.48761120907795</c:v>
                </c:pt>
                <c:pt idx="431">
                  <c:v>939.29450749239402</c:v>
                </c:pt>
                <c:pt idx="432">
                  <c:v>924.69983626168801</c:v>
                </c:pt>
                <c:pt idx="433">
                  <c:v>910.61482021681604</c:v>
                </c:pt>
                <c:pt idx="434">
                  <c:v>948.09764252043897</c:v>
                </c:pt>
                <c:pt idx="435">
                  <c:v>992.02065308142096</c:v>
                </c:pt>
                <c:pt idx="436">
                  <c:v>1015.88178223638</c:v>
                </c:pt>
                <c:pt idx="437">
                  <c:v>1050.9089931900801</c:v>
                </c:pt>
                <c:pt idx="438">
                  <c:v>1074.6311254761799</c:v>
                </c:pt>
                <c:pt idx="439">
                  <c:v>1086.7238530673301</c:v>
                </c:pt>
                <c:pt idx="440">
                  <c:v>1133.6584624536999</c:v>
                </c:pt>
                <c:pt idx="441">
                  <c:v>1174.4772096100501</c:v>
                </c:pt>
                <c:pt idx="442">
                  <c:v>1141.99827458553</c:v>
                </c:pt>
                <c:pt idx="443">
                  <c:v>1162.8014726254901</c:v>
                </c:pt>
                <c:pt idx="444">
                  <c:v>1226.7400323028701</c:v>
                </c:pt>
                <c:pt idx="445">
                  <c:v>1280.8561465805301</c:v>
                </c:pt>
                <c:pt idx="446">
                  <c:v>1306.5705673203499</c:v>
                </c:pt>
                <c:pt idx="447">
                  <c:v>1334.0919473553899</c:v>
                </c:pt>
                <c:pt idx="448">
                  <c:v>1377.78329646827</c:v>
                </c:pt>
                <c:pt idx="449">
                  <c:v>1522.71069840366</c:v>
                </c:pt>
                <c:pt idx="450">
                  <c:v>1599.0663116995499</c:v>
                </c:pt>
                <c:pt idx="451">
                  <c:v>1611.7613590557801</c:v>
                </c:pt>
                <c:pt idx="452">
                  <c:v>1636.13214339658</c:v>
                </c:pt>
                <c:pt idx="453">
                  <c:v>1667.9160940767799</c:v>
                </c:pt>
                <c:pt idx="454">
                  <c:v>1707.2522079652599</c:v>
                </c:pt>
                <c:pt idx="455">
                  <c:v>1745.56901148206</c:v>
                </c:pt>
                <c:pt idx="456">
                  <c:v>1745.8470052197899</c:v>
                </c:pt>
                <c:pt idx="457">
                  <c:v>1759.23703692034</c:v>
                </c:pt>
                <c:pt idx="458">
                  <c:v>1778.32594024431</c:v>
                </c:pt>
                <c:pt idx="459">
                  <c:v>1780.64255472538</c:v>
                </c:pt>
                <c:pt idx="460">
                  <c:v>1756.82775786004</c:v>
                </c:pt>
                <c:pt idx="461">
                  <c:v>1752.8431809526101</c:v>
                </c:pt>
                <c:pt idx="462">
                  <c:v>1743.76205218683</c:v>
                </c:pt>
                <c:pt idx="463">
                  <c:v>1706.3255621728299</c:v>
                </c:pt>
                <c:pt idx="464">
                  <c:v>1678.5261884000599</c:v>
                </c:pt>
                <c:pt idx="465">
                  <c:v>1636.31747255506</c:v>
                </c:pt>
                <c:pt idx="466">
                  <c:v>1605.5991645361501</c:v>
                </c:pt>
                <c:pt idx="467">
                  <c:v>1589.9851829337699</c:v>
                </c:pt>
                <c:pt idx="468">
                  <c:v>1572.5642420361701</c:v>
                </c:pt>
                <c:pt idx="469">
                  <c:v>1537.62969566172</c:v>
                </c:pt>
                <c:pt idx="470">
                  <c:v>1507.1430490909099</c:v>
                </c:pt>
                <c:pt idx="471">
                  <c:v>1462.5250541856101</c:v>
                </c:pt>
                <c:pt idx="472">
                  <c:v>1434.16969293738</c:v>
                </c:pt>
                <c:pt idx="473">
                  <c:v>1401.0884381477799</c:v>
                </c:pt>
                <c:pt idx="474">
                  <c:v>1396.6405383441299</c:v>
                </c:pt>
                <c:pt idx="475">
                  <c:v>1381.1192213209999</c:v>
                </c:pt>
                <c:pt idx="476">
                  <c:v>1365.2735782705199</c:v>
                </c:pt>
                <c:pt idx="477">
                  <c:v>1379.3585943153901</c:v>
                </c:pt>
                <c:pt idx="478">
                  <c:v>1404.5633598693801</c:v>
                </c:pt>
                <c:pt idx="479">
                  <c:v>1242.49301077411</c:v>
                </c:pt>
                <c:pt idx="480">
                  <c:v>1158.72423113881</c:v>
                </c:pt>
                <c:pt idx="481">
                  <c:v>1136.4847321206</c:v>
                </c:pt>
                <c:pt idx="482">
                  <c:v>1100.34554621599</c:v>
                </c:pt>
                <c:pt idx="483">
                  <c:v>1052.2989618787101</c:v>
                </c:pt>
                <c:pt idx="484">
                  <c:v>980.99356815155397</c:v>
                </c:pt>
                <c:pt idx="485">
                  <c:v>913.53375446295695</c:v>
                </c:pt>
                <c:pt idx="486">
                  <c:v>1017.50341237313</c:v>
                </c:pt>
                <c:pt idx="487">
                  <c:v>1014.63081041661</c:v>
                </c:pt>
                <c:pt idx="488">
                  <c:v>1030.3374565982199</c:v>
                </c:pt>
                <c:pt idx="489">
                  <c:v>1078.1060471977701</c:v>
                </c:pt>
                <c:pt idx="490">
                  <c:v>1124.34567223982</c:v>
                </c:pt>
                <c:pt idx="491">
                  <c:v>1167.7126953253401</c:v>
                </c:pt>
                <c:pt idx="492">
                  <c:v>1188.3305642068201</c:v>
                </c:pt>
                <c:pt idx="493">
                  <c:v>1221.9678064718701</c:v>
                </c:pt>
                <c:pt idx="494">
                  <c:v>1284.65539432948</c:v>
                </c:pt>
                <c:pt idx="495">
                  <c:v>1285.07238493607</c:v>
                </c:pt>
                <c:pt idx="496">
                  <c:v>1238.09144326008</c:v>
                </c:pt>
                <c:pt idx="497">
                  <c:v>1208.71677164019</c:v>
                </c:pt>
                <c:pt idx="498">
                  <c:v>1173.50423152801</c:v>
                </c:pt>
                <c:pt idx="499">
                  <c:v>1143.4809078534099</c:v>
                </c:pt>
                <c:pt idx="500">
                  <c:v>1131.24918339339</c:v>
                </c:pt>
                <c:pt idx="501">
                  <c:v>1153.4886824116099</c:v>
                </c:pt>
                <c:pt idx="502">
                  <c:v>1160.57752272367</c:v>
                </c:pt>
                <c:pt idx="503">
                  <c:v>1172.2069274186099</c:v>
                </c:pt>
                <c:pt idx="504">
                  <c:v>1179.7590906268799</c:v>
                </c:pt>
                <c:pt idx="505">
                  <c:v>1254.49307378602</c:v>
                </c:pt>
                <c:pt idx="506">
                  <c:v>1349.7059289577701</c:v>
                </c:pt>
                <c:pt idx="507">
                  <c:v>1423.1889402971301</c:v>
                </c:pt>
                <c:pt idx="508">
                  <c:v>1464.33201348084</c:v>
                </c:pt>
                <c:pt idx="509">
                  <c:v>1493.98467883846</c:v>
                </c:pt>
                <c:pt idx="510">
                  <c:v>1556.5332698272</c:v>
                </c:pt>
                <c:pt idx="511">
                  <c:v>1631.68424359293</c:v>
                </c:pt>
                <c:pt idx="512">
                  <c:v>1687.60731716583</c:v>
                </c:pt>
                <c:pt idx="513">
                  <c:v>1743.6693876075899</c:v>
                </c:pt>
                <c:pt idx="514">
                  <c:v>1852.27227447989</c:v>
                </c:pt>
                <c:pt idx="515">
                  <c:v>1895.0369778003401</c:v>
                </c:pt>
                <c:pt idx="516">
                  <c:v>1927.1915867975199</c:v>
                </c:pt>
                <c:pt idx="517">
                  <c:v>1953.83265332976</c:v>
                </c:pt>
                <c:pt idx="518">
                  <c:v>2037.13811006884</c:v>
                </c:pt>
                <c:pt idx="519">
                  <c:v>2073.74061886965</c:v>
                </c:pt>
                <c:pt idx="520">
                  <c:v>2136.47453901688</c:v>
                </c:pt>
                <c:pt idx="521">
                  <c:v>2116.4126576108602</c:v>
                </c:pt>
                <c:pt idx="522">
                  <c:v>2099.7793656368199</c:v>
                </c:pt>
                <c:pt idx="523">
                  <c:v>2072.6286439187402</c:v>
                </c:pt>
                <c:pt idx="524">
                  <c:v>2085.3236912749799</c:v>
                </c:pt>
                <c:pt idx="525">
                  <c:v>2033.94118208497</c:v>
                </c:pt>
                <c:pt idx="526">
                  <c:v>1987.37723101557</c:v>
                </c:pt>
                <c:pt idx="527">
                  <c:v>1940.95227681504</c:v>
                </c:pt>
                <c:pt idx="528">
                  <c:v>1901.10650774073</c:v>
                </c:pt>
                <c:pt idx="529">
                  <c:v>1863.62368543711</c:v>
                </c:pt>
                <c:pt idx="530">
                  <c:v>1848.24136528284</c:v>
                </c:pt>
                <c:pt idx="531">
                  <c:v>1829.1061296692501</c:v>
                </c:pt>
                <c:pt idx="532">
                  <c:v>1797.7855018852599</c:v>
                </c:pt>
                <c:pt idx="533">
                  <c:v>1760.1173504231499</c:v>
                </c:pt>
                <c:pt idx="534">
                  <c:v>1720.8739011139201</c:v>
                </c:pt>
                <c:pt idx="535">
                  <c:v>1659.7152788138101</c:v>
                </c:pt>
                <c:pt idx="536">
                  <c:v>1642.0626764681001</c:v>
                </c:pt>
                <c:pt idx="537">
                  <c:v>1626.0780365487601</c:v>
                </c:pt>
                <c:pt idx="538">
                  <c:v>1585.2129571027799</c:v>
                </c:pt>
                <c:pt idx="539">
                  <c:v>1511.9152749218999</c:v>
                </c:pt>
                <c:pt idx="540">
                  <c:v>1451.6369661245999</c:v>
                </c:pt>
                <c:pt idx="541">
                  <c:v>1384.1308201463901</c:v>
                </c:pt>
                <c:pt idx="542">
                  <c:v>1353.2271829689901</c:v>
                </c:pt>
                <c:pt idx="543">
                  <c:v>1318.6632949115001</c:v>
                </c:pt>
                <c:pt idx="544">
                  <c:v>1307.35821624391</c:v>
                </c:pt>
                <c:pt idx="545">
                  <c:v>1313.0107555777099</c:v>
                </c:pt>
                <c:pt idx="546">
                  <c:v>1283.68241624743</c:v>
                </c:pt>
                <c:pt idx="547">
                  <c:v>1226.1840448274099</c:v>
                </c:pt>
                <c:pt idx="548">
                  <c:v>1142.4152651921199</c:v>
                </c:pt>
                <c:pt idx="549">
                  <c:v>1086.5848561984701</c:v>
                </c:pt>
                <c:pt idx="550">
                  <c:v>1064.2990248906301</c:v>
                </c:pt>
                <c:pt idx="551">
                  <c:v>985.997455430652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pocet_PCR_testu_65_100_000_7dni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53</c:f>
              <c:numCache>
                <c:formatCode>m/d/yyyy</c:formatCode>
                <c:ptCount val="55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</c:numCache>
            </c:numRef>
          </c:cat>
          <c:val>
            <c:numRef>
              <c:f>Sheet1!$B$2:$B$553</c:f>
              <c:numCache>
                <c:formatCode>0%</c:formatCode>
                <c:ptCount val="552"/>
                <c:pt idx="0">
                  <c:v>-7.0635000000000003E-2</c:v>
                </c:pt>
                <c:pt idx="1">
                  <c:v>-6.3264000000000001E-2</c:v>
                </c:pt>
                <c:pt idx="2">
                  <c:v>-7.9283999999999993E-2</c:v>
                </c:pt>
                <c:pt idx="3">
                  <c:v>2.8452000000000002E-2</c:v>
                </c:pt>
                <c:pt idx="4">
                  <c:v>5.0068000000000001E-2</c:v>
                </c:pt>
                <c:pt idx="5">
                  <c:v>-6.0470999999999997E-2</c:v>
                </c:pt>
                <c:pt idx="6">
                  <c:v>-8.3405999999999994E-2</c:v>
                </c:pt>
                <c:pt idx="7">
                  <c:v>-6.3710000000000003E-2</c:v>
                </c:pt>
                <c:pt idx="8">
                  <c:v>-7.4552999999999994E-2</c:v>
                </c:pt>
                <c:pt idx="9">
                  <c:v>-5.7166000000000002E-2</c:v>
                </c:pt>
                <c:pt idx="10">
                  <c:v>4.2304000000000001E-2</c:v>
                </c:pt>
                <c:pt idx="11">
                  <c:v>0.125856</c:v>
                </c:pt>
                <c:pt idx="12">
                  <c:v>5.1847999999999998E-2</c:v>
                </c:pt>
                <c:pt idx="13">
                  <c:v>5.6590000000000001E-2</c:v>
                </c:pt>
                <c:pt idx="14">
                  <c:v>5.5452000000000001E-2</c:v>
                </c:pt>
                <c:pt idx="15">
                  <c:v>6.6258999999999998E-2</c:v>
                </c:pt>
                <c:pt idx="16">
                  <c:v>7.7206999999999998E-2</c:v>
                </c:pt>
                <c:pt idx="17">
                  <c:v>0.103892</c:v>
                </c:pt>
                <c:pt idx="18">
                  <c:v>9.6922999999999995E-2</c:v>
                </c:pt>
                <c:pt idx="19">
                  <c:v>1.2647E-2</c:v>
                </c:pt>
                <c:pt idx="20">
                  <c:v>-2.4060000000000002E-3</c:v>
                </c:pt>
                <c:pt idx="21">
                  <c:v>-4.6620000000000003E-3</c:v>
                </c:pt>
                <c:pt idx="22">
                  <c:v>-5.6870999999999998E-2</c:v>
                </c:pt>
                <c:pt idx="23">
                  <c:v>-5.0597000000000003E-2</c:v>
                </c:pt>
                <c:pt idx="24">
                  <c:v>2.7043000000000001E-2</c:v>
                </c:pt>
                <c:pt idx="25">
                  <c:v>6.1388999999999999E-2</c:v>
                </c:pt>
                <c:pt idx="26">
                  <c:v>-3.0322000000000002E-2</c:v>
                </c:pt>
                <c:pt idx="27">
                  <c:v>-0.12119099999999999</c:v>
                </c:pt>
                <c:pt idx="28">
                  <c:v>-0.15740499999999999</c:v>
                </c:pt>
                <c:pt idx="29">
                  <c:v>-0.15316299999999999</c:v>
                </c:pt>
                <c:pt idx="30">
                  <c:v>-0.12194099999999999</c:v>
                </c:pt>
                <c:pt idx="31">
                  <c:v>-5.8219E-2</c:v>
                </c:pt>
                <c:pt idx="32">
                  <c:v>-1.4348E-2</c:v>
                </c:pt>
                <c:pt idx="33">
                  <c:v>-1.5082E-2</c:v>
                </c:pt>
                <c:pt idx="34">
                  <c:v>6.7863000000000007E-2</c:v>
                </c:pt>
                <c:pt idx="35">
                  <c:v>9.8624000000000003E-2</c:v>
                </c:pt>
                <c:pt idx="36">
                  <c:v>8.2751000000000005E-2</c:v>
                </c:pt>
                <c:pt idx="37">
                  <c:v>7.6733999999999997E-2</c:v>
                </c:pt>
                <c:pt idx="38">
                  <c:v>0.136966</c:v>
                </c:pt>
                <c:pt idx="39">
                  <c:v>0.16486999999999999</c:v>
                </c:pt>
                <c:pt idx="40">
                  <c:v>8.1833000000000003E-2</c:v>
                </c:pt>
                <c:pt idx="41">
                  <c:v>8.5939999999999992E-3</c:v>
                </c:pt>
                <c:pt idx="42">
                  <c:v>1.652E-2</c:v>
                </c:pt>
                <c:pt idx="43">
                  <c:v>7.0878999999999998E-2</c:v>
                </c:pt>
                <c:pt idx="44">
                  <c:v>0.107706</c:v>
                </c:pt>
                <c:pt idx="45">
                  <c:v>0.22589999999999999</c:v>
                </c:pt>
                <c:pt idx="46">
                  <c:v>0.31085299999999999</c:v>
                </c:pt>
                <c:pt idx="47">
                  <c:v>0.22062699999999999</c:v>
                </c:pt>
                <c:pt idx="48">
                  <c:v>0.16841400000000001</c:v>
                </c:pt>
                <c:pt idx="49">
                  <c:v>0.132302</c:v>
                </c:pt>
                <c:pt idx="50">
                  <c:v>0.13611599999999999</c:v>
                </c:pt>
                <c:pt idx="51">
                  <c:v>0.12843299999999999</c:v>
                </c:pt>
                <c:pt idx="52">
                  <c:v>0.156888</c:v>
                </c:pt>
                <c:pt idx="53">
                  <c:v>0.18462999999999999</c:v>
                </c:pt>
                <c:pt idx="54">
                  <c:v>0.11013100000000001</c:v>
                </c:pt>
                <c:pt idx="55">
                  <c:v>7.6846999999999999E-2</c:v>
                </c:pt>
                <c:pt idx="56">
                  <c:v>6.6321000000000005E-2</c:v>
                </c:pt>
                <c:pt idx="57">
                  <c:v>1.149E-2</c:v>
                </c:pt>
                <c:pt idx="58">
                  <c:v>-2.6356000000000001E-2</c:v>
                </c:pt>
                <c:pt idx="59">
                  <c:v>9.3539999999999995E-3</c:v>
                </c:pt>
                <c:pt idx="60">
                  <c:v>3.8842000000000002E-2</c:v>
                </c:pt>
                <c:pt idx="61">
                  <c:v>-4.3521999999999998E-2</c:v>
                </c:pt>
                <c:pt idx="62">
                  <c:v>-0.11437700000000001</c:v>
                </c:pt>
                <c:pt idx="63">
                  <c:v>-0.11619400000000001</c:v>
                </c:pt>
                <c:pt idx="64">
                  <c:v>-8.6807999999999996E-2</c:v>
                </c:pt>
                <c:pt idx="65">
                  <c:v>-7.5882000000000005E-2</c:v>
                </c:pt>
                <c:pt idx="66">
                  <c:v>-6.1809999999999997E-2</c:v>
                </c:pt>
                <c:pt idx="67">
                  <c:v>-4.9494999999999997E-2</c:v>
                </c:pt>
                <c:pt idx="68">
                  <c:v>-0.114631</c:v>
                </c:pt>
                <c:pt idx="69">
                  <c:v>-0.13849600000000001</c:v>
                </c:pt>
                <c:pt idx="70">
                  <c:v>-0.14219399999999999</c:v>
                </c:pt>
                <c:pt idx="71">
                  <c:v>-0.18792700000000001</c:v>
                </c:pt>
                <c:pt idx="72">
                  <c:v>-0.235511</c:v>
                </c:pt>
                <c:pt idx="73">
                  <c:v>-0.22040100000000001</c:v>
                </c:pt>
                <c:pt idx="74">
                  <c:v>-0.20284199999999999</c:v>
                </c:pt>
                <c:pt idx="75">
                  <c:v>-0.25218099999999999</c:v>
                </c:pt>
                <c:pt idx="76">
                  <c:v>-0.292377</c:v>
                </c:pt>
                <c:pt idx="77">
                  <c:v>-0.36588500000000002</c:v>
                </c:pt>
                <c:pt idx="78">
                  <c:v>-0.38158799999999998</c:v>
                </c:pt>
                <c:pt idx="79">
                  <c:v>-0.37879099999999999</c:v>
                </c:pt>
                <c:pt idx="80">
                  <c:v>-0.34773199999999999</c:v>
                </c:pt>
                <c:pt idx="81">
                  <c:v>-0.306255</c:v>
                </c:pt>
                <c:pt idx="82">
                  <c:v>-0.35275200000000001</c:v>
                </c:pt>
                <c:pt idx="83">
                  <c:v>-0.30859199999999998</c:v>
                </c:pt>
                <c:pt idx="84">
                  <c:v>-0.22089600000000001</c:v>
                </c:pt>
                <c:pt idx="85">
                  <c:v>-0.19734499999999999</c:v>
                </c:pt>
                <c:pt idx="86">
                  <c:v>-0.18021999999999999</c:v>
                </c:pt>
                <c:pt idx="87">
                  <c:v>-0.10385800000000001</c:v>
                </c:pt>
                <c:pt idx="88">
                  <c:v>-7.1145E-2</c:v>
                </c:pt>
                <c:pt idx="89">
                  <c:v>-0.17494199999999999</c:v>
                </c:pt>
                <c:pt idx="90">
                  <c:v>-0.20055600000000001</c:v>
                </c:pt>
                <c:pt idx="91">
                  <c:v>-0.249477</c:v>
                </c:pt>
                <c:pt idx="92">
                  <c:v>-0.22555700000000001</c:v>
                </c:pt>
                <c:pt idx="93">
                  <c:v>-0.21856100000000001</c:v>
                </c:pt>
                <c:pt idx="94">
                  <c:v>-0.16447200000000001</c:v>
                </c:pt>
                <c:pt idx="95">
                  <c:v>-0.12873000000000001</c:v>
                </c:pt>
                <c:pt idx="96">
                  <c:v>-0.20779600000000001</c:v>
                </c:pt>
                <c:pt idx="97">
                  <c:v>-0.18657799999999999</c:v>
                </c:pt>
                <c:pt idx="98">
                  <c:v>-0.160103</c:v>
                </c:pt>
                <c:pt idx="99">
                  <c:v>-0.132379</c:v>
                </c:pt>
                <c:pt idx="100">
                  <c:v>-0.10884000000000001</c:v>
                </c:pt>
                <c:pt idx="101">
                  <c:v>-1.9231999999999999E-2</c:v>
                </c:pt>
                <c:pt idx="102">
                  <c:v>2.9700000000000001E-2</c:v>
                </c:pt>
                <c:pt idx="103">
                  <c:v>-6.6490999999999995E-2</c:v>
                </c:pt>
                <c:pt idx="104">
                  <c:v>-6.4637E-2</c:v>
                </c:pt>
                <c:pt idx="105">
                  <c:v>-6.4301999999999998E-2</c:v>
                </c:pt>
                <c:pt idx="106">
                  <c:v>-3.1349000000000002E-2</c:v>
                </c:pt>
                <c:pt idx="107">
                  <c:v>-5.5024999999999998E-2</c:v>
                </c:pt>
                <c:pt idx="108">
                  <c:v>-1.3441E-2</c:v>
                </c:pt>
                <c:pt idx="109">
                  <c:v>2.4503E-2</c:v>
                </c:pt>
                <c:pt idx="110">
                  <c:v>-7.7813999999999994E-2</c:v>
                </c:pt>
                <c:pt idx="111">
                  <c:v>-9.2301999999999995E-2</c:v>
                </c:pt>
                <c:pt idx="112">
                  <c:v>-9.3434000000000003E-2</c:v>
                </c:pt>
                <c:pt idx="113">
                  <c:v>-6.9524000000000002E-2</c:v>
                </c:pt>
                <c:pt idx="114">
                  <c:v>-0.17272999999999999</c:v>
                </c:pt>
                <c:pt idx="115">
                  <c:v>-0.228906</c:v>
                </c:pt>
                <c:pt idx="116">
                  <c:v>-0.252471</c:v>
                </c:pt>
                <c:pt idx="117">
                  <c:v>-0.31807600000000003</c:v>
                </c:pt>
                <c:pt idx="118">
                  <c:v>-0.323963</c:v>
                </c:pt>
                <c:pt idx="119">
                  <c:v>-0.31551200000000001</c:v>
                </c:pt>
                <c:pt idx="120">
                  <c:v>-0.21219099999999999</c:v>
                </c:pt>
                <c:pt idx="121">
                  <c:v>-1.0057E-2</c:v>
                </c:pt>
                <c:pt idx="122">
                  <c:v>0.103265</c:v>
                </c:pt>
                <c:pt idx="123">
                  <c:v>0.19636600000000001</c:v>
                </c:pt>
                <c:pt idx="124">
                  <c:v>8.8514999999999996E-2</c:v>
                </c:pt>
                <c:pt idx="125">
                  <c:v>7.7711000000000002E-2</c:v>
                </c:pt>
                <c:pt idx="126">
                  <c:v>8.0576999999999996E-2</c:v>
                </c:pt>
                <c:pt idx="127">
                  <c:v>0.120533</c:v>
                </c:pt>
                <c:pt idx="128">
                  <c:v>0.20088600000000001</c:v>
                </c:pt>
                <c:pt idx="129">
                  <c:v>0.32735500000000001</c:v>
                </c:pt>
                <c:pt idx="130">
                  <c:v>0.306863</c:v>
                </c:pt>
                <c:pt idx="131">
                  <c:v>0.135658</c:v>
                </c:pt>
                <c:pt idx="132">
                  <c:v>4.7530000000000003E-2</c:v>
                </c:pt>
                <c:pt idx="133">
                  <c:v>-1.2695E-2</c:v>
                </c:pt>
                <c:pt idx="134">
                  <c:v>-6.5771999999999997E-2</c:v>
                </c:pt>
                <c:pt idx="135">
                  <c:v>-0.15587599999999999</c:v>
                </c:pt>
                <c:pt idx="136">
                  <c:v>-0.23933399999999999</c:v>
                </c:pt>
                <c:pt idx="137">
                  <c:v>-0.245342</c:v>
                </c:pt>
                <c:pt idx="138">
                  <c:v>-0.30675799999999998</c:v>
                </c:pt>
                <c:pt idx="139">
                  <c:v>-0.32646399999999998</c:v>
                </c:pt>
                <c:pt idx="140">
                  <c:v>-0.31447199999999997</c:v>
                </c:pt>
                <c:pt idx="141">
                  <c:v>-0.30355399999999999</c:v>
                </c:pt>
                <c:pt idx="142">
                  <c:v>-0.28744900000000001</c:v>
                </c:pt>
                <c:pt idx="143">
                  <c:v>-0.21578800000000001</c:v>
                </c:pt>
                <c:pt idx="144">
                  <c:v>-0.18693799999999999</c:v>
                </c:pt>
                <c:pt idx="145">
                  <c:v>-0.24651200000000001</c:v>
                </c:pt>
                <c:pt idx="146">
                  <c:v>-0.24384500000000001</c:v>
                </c:pt>
                <c:pt idx="147">
                  <c:v>-0.23242199999999999</c:v>
                </c:pt>
                <c:pt idx="148">
                  <c:v>-0.19444</c:v>
                </c:pt>
                <c:pt idx="149">
                  <c:v>-0.177733</c:v>
                </c:pt>
                <c:pt idx="150">
                  <c:v>-0.113174</c:v>
                </c:pt>
                <c:pt idx="151">
                  <c:v>-8.2733000000000001E-2</c:v>
                </c:pt>
                <c:pt idx="152">
                  <c:v>-0.17100799999999999</c:v>
                </c:pt>
                <c:pt idx="153">
                  <c:v>-0.170706</c:v>
                </c:pt>
                <c:pt idx="154">
                  <c:v>-0.155973</c:v>
                </c:pt>
                <c:pt idx="155">
                  <c:v>-0.14741199999999999</c:v>
                </c:pt>
                <c:pt idx="156">
                  <c:v>-0.14952399999999999</c:v>
                </c:pt>
                <c:pt idx="157">
                  <c:v>-8.4726999999999997E-2</c:v>
                </c:pt>
                <c:pt idx="158">
                  <c:v>-4.8249E-2</c:v>
                </c:pt>
                <c:pt idx="159">
                  <c:v>-0.13553200000000001</c:v>
                </c:pt>
                <c:pt idx="160">
                  <c:v>-0.16226199999999999</c:v>
                </c:pt>
                <c:pt idx="161">
                  <c:v>-0.16000900000000001</c:v>
                </c:pt>
                <c:pt idx="162">
                  <c:v>-0.155305</c:v>
                </c:pt>
                <c:pt idx="163">
                  <c:v>-0.18013699999999999</c:v>
                </c:pt>
                <c:pt idx="164">
                  <c:v>-0.124473</c:v>
                </c:pt>
                <c:pt idx="165">
                  <c:v>-0.10358100000000001</c:v>
                </c:pt>
                <c:pt idx="166">
                  <c:v>-0.18343200000000001</c:v>
                </c:pt>
                <c:pt idx="167">
                  <c:v>-0.18220600000000001</c:v>
                </c:pt>
                <c:pt idx="168">
                  <c:v>-0.169294</c:v>
                </c:pt>
                <c:pt idx="169">
                  <c:v>-0.14215</c:v>
                </c:pt>
                <c:pt idx="170">
                  <c:v>-0.116393</c:v>
                </c:pt>
                <c:pt idx="171">
                  <c:v>-3.1313000000000001E-2</c:v>
                </c:pt>
                <c:pt idx="172">
                  <c:v>8.7039999999999999E-3</c:v>
                </c:pt>
                <c:pt idx="173">
                  <c:v>-8.7367E-2</c:v>
                </c:pt>
                <c:pt idx="174">
                  <c:v>-9.5338999999999993E-2</c:v>
                </c:pt>
                <c:pt idx="175">
                  <c:v>-5.6959999999999997E-2</c:v>
                </c:pt>
                <c:pt idx="176">
                  <c:v>-3.6004000000000001E-2</c:v>
                </c:pt>
                <c:pt idx="177">
                  <c:v>-4.5870000000000001E-2</c:v>
                </c:pt>
                <c:pt idx="178">
                  <c:v>3.3119000000000003E-2</c:v>
                </c:pt>
                <c:pt idx="179">
                  <c:v>6.6037999999999999E-2</c:v>
                </c:pt>
                <c:pt idx="180">
                  <c:v>-5.1916999999999998E-2</c:v>
                </c:pt>
                <c:pt idx="181">
                  <c:v>-8.2956000000000002E-2</c:v>
                </c:pt>
                <c:pt idx="182">
                  <c:v>-7.1998000000000006E-2</c:v>
                </c:pt>
                <c:pt idx="183">
                  <c:v>-7.1667999999999996E-2</c:v>
                </c:pt>
                <c:pt idx="184">
                  <c:v>-9.4020999999999993E-2</c:v>
                </c:pt>
                <c:pt idx="185">
                  <c:v>-3.7245E-2</c:v>
                </c:pt>
                <c:pt idx="186">
                  <c:v>-9.6609999999999994E-3</c:v>
                </c:pt>
                <c:pt idx="187">
                  <c:v>-0.102925</c:v>
                </c:pt>
                <c:pt idx="188">
                  <c:v>-0.14194000000000001</c:v>
                </c:pt>
                <c:pt idx="189">
                  <c:v>-0.16442399999999999</c:v>
                </c:pt>
                <c:pt idx="190">
                  <c:v>-0.162381</c:v>
                </c:pt>
                <c:pt idx="191">
                  <c:v>-0.181038</c:v>
                </c:pt>
                <c:pt idx="192">
                  <c:v>-0.12872</c:v>
                </c:pt>
                <c:pt idx="193">
                  <c:v>-0.108864</c:v>
                </c:pt>
                <c:pt idx="194">
                  <c:v>-0.19289100000000001</c:v>
                </c:pt>
                <c:pt idx="195">
                  <c:v>-0.19739100000000001</c:v>
                </c:pt>
                <c:pt idx="196">
                  <c:v>-0.17973800000000001</c:v>
                </c:pt>
                <c:pt idx="197">
                  <c:v>-0.17347199999999999</c:v>
                </c:pt>
                <c:pt idx="198">
                  <c:v>-0.184836</c:v>
                </c:pt>
                <c:pt idx="199">
                  <c:v>-0.130574</c:v>
                </c:pt>
                <c:pt idx="200">
                  <c:v>-9.7244999999999998E-2</c:v>
                </c:pt>
                <c:pt idx="201">
                  <c:v>-0.17621899999999999</c:v>
                </c:pt>
                <c:pt idx="202">
                  <c:v>-0.209595</c:v>
                </c:pt>
                <c:pt idx="203">
                  <c:v>-0.21571599999999999</c:v>
                </c:pt>
                <c:pt idx="204">
                  <c:v>-0.21950500000000001</c:v>
                </c:pt>
                <c:pt idx="205">
                  <c:v>-0.220107</c:v>
                </c:pt>
                <c:pt idx="206">
                  <c:v>-0.17272999999999999</c:v>
                </c:pt>
                <c:pt idx="207">
                  <c:v>-0.161522</c:v>
                </c:pt>
                <c:pt idx="208">
                  <c:v>-0.24531600000000001</c:v>
                </c:pt>
                <c:pt idx="209">
                  <c:v>-0.245473</c:v>
                </c:pt>
                <c:pt idx="210">
                  <c:v>-0.23336799999999999</c:v>
                </c:pt>
                <c:pt idx="211">
                  <c:v>-0.21592700000000001</c:v>
                </c:pt>
                <c:pt idx="212">
                  <c:v>-0.225525</c:v>
                </c:pt>
                <c:pt idx="213">
                  <c:v>-0.22702800000000001</c:v>
                </c:pt>
                <c:pt idx="214">
                  <c:v>-0.21899399999999999</c:v>
                </c:pt>
                <c:pt idx="215">
                  <c:v>-0.28996499999999997</c:v>
                </c:pt>
                <c:pt idx="216">
                  <c:v>-0.39292700000000003</c:v>
                </c:pt>
                <c:pt idx="217">
                  <c:v>-0.38036700000000001</c:v>
                </c:pt>
                <c:pt idx="218">
                  <c:v>-0.35097600000000001</c:v>
                </c:pt>
                <c:pt idx="219">
                  <c:v>-0.299701</c:v>
                </c:pt>
                <c:pt idx="220">
                  <c:v>-0.168487</c:v>
                </c:pt>
                <c:pt idx="221">
                  <c:v>-0.125583</c:v>
                </c:pt>
                <c:pt idx="222">
                  <c:v>-0.14616399999999999</c:v>
                </c:pt>
                <c:pt idx="223">
                  <c:v>-3.0713000000000001E-2</c:v>
                </c:pt>
                <c:pt idx="224">
                  <c:v>-3.3057000000000003E-2</c:v>
                </c:pt>
                <c:pt idx="225">
                  <c:v>-5.0867000000000002E-2</c:v>
                </c:pt>
                <c:pt idx="226">
                  <c:v>-6.2177000000000003E-2</c:v>
                </c:pt>
                <c:pt idx="227">
                  <c:v>-6.8684999999999996E-2</c:v>
                </c:pt>
                <c:pt idx="228">
                  <c:v>-7.8658000000000006E-2</c:v>
                </c:pt>
                <c:pt idx="229">
                  <c:v>-0.17207900000000001</c:v>
                </c:pt>
                <c:pt idx="230">
                  <c:v>-0.26525500000000002</c:v>
                </c:pt>
                <c:pt idx="231">
                  <c:v>-0.26059300000000002</c:v>
                </c:pt>
                <c:pt idx="232">
                  <c:v>-0.23009599999999999</c:v>
                </c:pt>
                <c:pt idx="233">
                  <c:v>-0.225018</c:v>
                </c:pt>
                <c:pt idx="234">
                  <c:v>-0.176956</c:v>
                </c:pt>
                <c:pt idx="235">
                  <c:v>-0.15651599999999999</c:v>
                </c:pt>
                <c:pt idx="236">
                  <c:v>-0.247609</c:v>
                </c:pt>
                <c:pt idx="237">
                  <c:v>-0.24282500000000001</c:v>
                </c:pt>
                <c:pt idx="238">
                  <c:v>-0.226189</c:v>
                </c:pt>
                <c:pt idx="239">
                  <c:v>-0.20718300000000001</c:v>
                </c:pt>
                <c:pt idx="240">
                  <c:v>-0.19714000000000001</c:v>
                </c:pt>
                <c:pt idx="241">
                  <c:v>-0.12756500000000001</c:v>
                </c:pt>
                <c:pt idx="242">
                  <c:v>-0.110585</c:v>
                </c:pt>
                <c:pt idx="243">
                  <c:v>-0.197521</c:v>
                </c:pt>
                <c:pt idx="244">
                  <c:v>-0.190805</c:v>
                </c:pt>
                <c:pt idx="245">
                  <c:v>-0.16808200000000001</c:v>
                </c:pt>
                <c:pt idx="246">
                  <c:v>-0.158829</c:v>
                </c:pt>
                <c:pt idx="247">
                  <c:v>-0.176092</c:v>
                </c:pt>
                <c:pt idx="248">
                  <c:v>-0.14594099999999999</c:v>
                </c:pt>
                <c:pt idx="249">
                  <c:v>-0.13841400000000001</c:v>
                </c:pt>
                <c:pt idx="250">
                  <c:v>-0.234794</c:v>
                </c:pt>
                <c:pt idx="251">
                  <c:v>-0.23238400000000001</c:v>
                </c:pt>
                <c:pt idx="252">
                  <c:v>-0.236319</c:v>
                </c:pt>
                <c:pt idx="253">
                  <c:v>-0.22145300000000001</c:v>
                </c:pt>
                <c:pt idx="254">
                  <c:v>-0.20697199999999999</c:v>
                </c:pt>
                <c:pt idx="255">
                  <c:v>-0.14568900000000001</c:v>
                </c:pt>
                <c:pt idx="256">
                  <c:v>-0.12803800000000001</c:v>
                </c:pt>
                <c:pt idx="257">
                  <c:v>-0.223832</c:v>
                </c:pt>
                <c:pt idx="258">
                  <c:v>-0.216615</c:v>
                </c:pt>
                <c:pt idx="259">
                  <c:v>-0.20048199999999999</c:v>
                </c:pt>
                <c:pt idx="260">
                  <c:v>-0.189058</c:v>
                </c:pt>
                <c:pt idx="261">
                  <c:v>-0.196658</c:v>
                </c:pt>
                <c:pt idx="262">
                  <c:v>-0.15737599999999999</c:v>
                </c:pt>
                <c:pt idx="263">
                  <c:v>-0.13969599999999999</c:v>
                </c:pt>
                <c:pt idx="264">
                  <c:v>-0.23425699999999999</c:v>
                </c:pt>
                <c:pt idx="265">
                  <c:v>-0.228709</c:v>
                </c:pt>
                <c:pt idx="266">
                  <c:v>-0.21571499999999999</c:v>
                </c:pt>
                <c:pt idx="267">
                  <c:v>-0.223217</c:v>
                </c:pt>
                <c:pt idx="268">
                  <c:v>-0.23052800000000001</c:v>
                </c:pt>
                <c:pt idx="269">
                  <c:v>-0.19736400000000001</c:v>
                </c:pt>
                <c:pt idx="270">
                  <c:v>-0.199488</c:v>
                </c:pt>
                <c:pt idx="271">
                  <c:v>-0.28358699999999998</c:v>
                </c:pt>
                <c:pt idx="272">
                  <c:v>-0.27379199999999998</c:v>
                </c:pt>
                <c:pt idx="273">
                  <c:v>-0.26415</c:v>
                </c:pt>
                <c:pt idx="274">
                  <c:v>-0.23383999999999999</c:v>
                </c:pt>
                <c:pt idx="275">
                  <c:v>-0.19922999999999999</c:v>
                </c:pt>
                <c:pt idx="276">
                  <c:v>-0.12607399999999999</c:v>
                </c:pt>
                <c:pt idx="277">
                  <c:v>-0.10033</c:v>
                </c:pt>
                <c:pt idx="278">
                  <c:v>-0.19072500000000001</c:v>
                </c:pt>
                <c:pt idx="279">
                  <c:v>-0.16336400000000001</c:v>
                </c:pt>
                <c:pt idx="280">
                  <c:v>-0.12698799999999999</c:v>
                </c:pt>
                <c:pt idx="281">
                  <c:v>-0.12313</c:v>
                </c:pt>
                <c:pt idx="282">
                  <c:v>-0.149869</c:v>
                </c:pt>
                <c:pt idx="283">
                  <c:v>-9.4913999999999998E-2</c:v>
                </c:pt>
                <c:pt idx="284">
                  <c:v>-8.1492999999999996E-2</c:v>
                </c:pt>
                <c:pt idx="285">
                  <c:v>-0.187308</c:v>
                </c:pt>
                <c:pt idx="286">
                  <c:v>-0.183613</c:v>
                </c:pt>
                <c:pt idx="287">
                  <c:v>-0.18267800000000001</c:v>
                </c:pt>
                <c:pt idx="288">
                  <c:v>-0.181253</c:v>
                </c:pt>
                <c:pt idx="289">
                  <c:v>-0.16633999999999999</c:v>
                </c:pt>
                <c:pt idx="290">
                  <c:v>-0.10584200000000001</c:v>
                </c:pt>
                <c:pt idx="291">
                  <c:v>-8.5946999999999996E-2</c:v>
                </c:pt>
                <c:pt idx="292">
                  <c:v>-0.18484900000000001</c:v>
                </c:pt>
                <c:pt idx="293">
                  <c:v>-0.17105899999999999</c:v>
                </c:pt>
                <c:pt idx="294">
                  <c:v>-0.16162699999999999</c:v>
                </c:pt>
                <c:pt idx="295">
                  <c:v>-0.161576</c:v>
                </c:pt>
                <c:pt idx="296">
                  <c:v>-0.17111799999999999</c:v>
                </c:pt>
                <c:pt idx="297">
                  <c:v>-0.121562</c:v>
                </c:pt>
                <c:pt idx="298">
                  <c:v>-0.113176</c:v>
                </c:pt>
                <c:pt idx="299">
                  <c:v>-0.206872</c:v>
                </c:pt>
                <c:pt idx="300">
                  <c:v>-0.21218799999999999</c:v>
                </c:pt>
                <c:pt idx="301">
                  <c:v>-0.195964</c:v>
                </c:pt>
                <c:pt idx="302">
                  <c:v>-0.19747700000000001</c:v>
                </c:pt>
                <c:pt idx="303">
                  <c:v>-0.20475299999999999</c:v>
                </c:pt>
                <c:pt idx="304">
                  <c:v>-0.15198600000000001</c:v>
                </c:pt>
                <c:pt idx="305">
                  <c:v>-0.13280400000000001</c:v>
                </c:pt>
                <c:pt idx="306">
                  <c:v>-0.222554</c:v>
                </c:pt>
                <c:pt idx="307">
                  <c:v>-0.30141099999999998</c:v>
                </c:pt>
                <c:pt idx="308">
                  <c:v>-0.382187</c:v>
                </c:pt>
                <c:pt idx="309">
                  <c:v>-0.35519499999999998</c:v>
                </c:pt>
                <c:pt idx="310">
                  <c:v>-0.315666</c:v>
                </c:pt>
                <c:pt idx="311">
                  <c:v>-0.25983600000000001</c:v>
                </c:pt>
                <c:pt idx="312">
                  <c:v>-0.22458700000000001</c:v>
                </c:pt>
                <c:pt idx="313">
                  <c:v>-0.22744</c:v>
                </c:pt>
                <c:pt idx="314">
                  <c:v>-2.0781999999999998E-2</c:v>
                </c:pt>
                <c:pt idx="315">
                  <c:v>0.104145</c:v>
                </c:pt>
                <c:pt idx="316">
                  <c:v>4.0251000000000002E-2</c:v>
                </c:pt>
                <c:pt idx="317">
                  <c:v>-8.9840000000000007E-3</c:v>
                </c:pt>
                <c:pt idx="318">
                  <c:v>4.5447000000000001E-2</c:v>
                </c:pt>
                <c:pt idx="319">
                  <c:v>5.9213000000000002E-2</c:v>
                </c:pt>
                <c:pt idx="320">
                  <c:v>-7.3024000000000006E-2</c:v>
                </c:pt>
                <c:pt idx="321">
                  <c:v>-0.17141700000000001</c:v>
                </c:pt>
                <c:pt idx="322">
                  <c:v>-0.236127</c:v>
                </c:pt>
                <c:pt idx="323">
                  <c:v>-0.20224</c:v>
                </c:pt>
                <c:pt idx="324">
                  <c:v>-0.16695599999999999</c:v>
                </c:pt>
                <c:pt idx="325">
                  <c:v>-0.126219</c:v>
                </c:pt>
                <c:pt idx="326">
                  <c:v>-0.10140100000000001</c:v>
                </c:pt>
                <c:pt idx="327">
                  <c:v>-0.17361099999999999</c:v>
                </c:pt>
                <c:pt idx="328">
                  <c:v>-0.16773099999999999</c:v>
                </c:pt>
                <c:pt idx="329">
                  <c:v>-0.161969</c:v>
                </c:pt>
                <c:pt idx="330">
                  <c:v>-0.16977900000000001</c:v>
                </c:pt>
                <c:pt idx="331">
                  <c:v>-0.187192</c:v>
                </c:pt>
                <c:pt idx="332">
                  <c:v>-0.13308400000000001</c:v>
                </c:pt>
                <c:pt idx="333">
                  <c:v>-9.4794000000000003E-2</c:v>
                </c:pt>
                <c:pt idx="334">
                  <c:v>-0.18108099999999999</c:v>
                </c:pt>
                <c:pt idx="335">
                  <c:v>-0.18651599999999999</c:v>
                </c:pt>
                <c:pt idx="336">
                  <c:v>-0.181648</c:v>
                </c:pt>
                <c:pt idx="337">
                  <c:v>-0.163109</c:v>
                </c:pt>
                <c:pt idx="338">
                  <c:v>-0.15278900000000001</c:v>
                </c:pt>
                <c:pt idx="339">
                  <c:v>-9.7857E-2</c:v>
                </c:pt>
                <c:pt idx="340">
                  <c:v>-5.8498000000000001E-2</c:v>
                </c:pt>
                <c:pt idx="341">
                  <c:v>-0.13123899999999999</c:v>
                </c:pt>
                <c:pt idx="342">
                  <c:v>-0.114553</c:v>
                </c:pt>
                <c:pt idx="343">
                  <c:v>-9.0103000000000003E-2</c:v>
                </c:pt>
                <c:pt idx="344">
                  <c:v>-8.3543000000000006E-2</c:v>
                </c:pt>
                <c:pt idx="345">
                  <c:v>-8.9501999999999998E-2</c:v>
                </c:pt>
                <c:pt idx="346">
                  <c:v>-3.6366000000000002E-2</c:v>
                </c:pt>
                <c:pt idx="347">
                  <c:v>-1.0260999999999999E-2</c:v>
                </c:pt>
                <c:pt idx="348">
                  <c:v>-0.10892</c:v>
                </c:pt>
                <c:pt idx="349">
                  <c:v>-0.127308</c:v>
                </c:pt>
                <c:pt idx="350">
                  <c:v>-0.121742</c:v>
                </c:pt>
                <c:pt idx="351">
                  <c:v>-9.0379000000000001E-2</c:v>
                </c:pt>
                <c:pt idx="352">
                  <c:v>-0.110568</c:v>
                </c:pt>
                <c:pt idx="353">
                  <c:v>-6.8428000000000003E-2</c:v>
                </c:pt>
                <c:pt idx="354">
                  <c:v>-2.9328E-2</c:v>
                </c:pt>
                <c:pt idx="355">
                  <c:v>-0.116921</c:v>
                </c:pt>
                <c:pt idx="356">
                  <c:v>-0.117684</c:v>
                </c:pt>
                <c:pt idx="357">
                  <c:v>-0.125474</c:v>
                </c:pt>
                <c:pt idx="358">
                  <c:v>-0.14255100000000001</c:v>
                </c:pt>
                <c:pt idx="359">
                  <c:v>-0.14315800000000001</c:v>
                </c:pt>
                <c:pt idx="360">
                  <c:v>-6.0846999999999998E-2</c:v>
                </c:pt>
                <c:pt idx="361">
                  <c:v>-2.0478E-2</c:v>
                </c:pt>
                <c:pt idx="362">
                  <c:v>-0.108158</c:v>
                </c:pt>
                <c:pt idx="363">
                  <c:v>-8.1023999999999999E-2</c:v>
                </c:pt>
                <c:pt idx="364">
                  <c:v>-1.2312999999999999E-2</c:v>
                </c:pt>
                <c:pt idx="365">
                  <c:v>3.4707000000000002E-2</c:v>
                </c:pt>
                <c:pt idx="366">
                  <c:v>5.6010000000000001E-3</c:v>
                </c:pt>
                <c:pt idx="367">
                  <c:v>5.8233E-2</c:v>
                </c:pt>
                <c:pt idx="368">
                  <c:v>7.7093999999999996E-2</c:v>
                </c:pt>
                <c:pt idx="369">
                  <c:v>-5.8639999999999998E-2</c:v>
                </c:pt>
                <c:pt idx="370">
                  <c:v>-0.13136500000000001</c:v>
                </c:pt>
                <c:pt idx="371">
                  <c:v>-0.201575</c:v>
                </c:pt>
                <c:pt idx="372">
                  <c:v>-0.22081899999999999</c:v>
                </c:pt>
                <c:pt idx="373">
                  <c:v>-0.21820200000000001</c:v>
                </c:pt>
                <c:pt idx="374">
                  <c:v>-0.15437899999999999</c:v>
                </c:pt>
                <c:pt idx="375">
                  <c:v>-0.118954</c:v>
                </c:pt>
                <c:pt idx="376">
                  <c:v>-0.18582000000000001</c:v>
                </c:pt>
                <c:pt idx="377">
                  <c:v>-0.12441199999999999</c:v>
                </c:pt>
                <c:pt idx="378">
                  <c:v>-7.8698000000000004E-2</c:v>
                </c:pt>
                <c:pt idx="379">
                  <c:v>-7.4691999999999995E-2</c:v>
                </c:pt>
                <c:pt idx="380">
                  <c:v>-0.104548</c:v>
                </c:pt>
                <c:pt idx="381">
                  <c:v>-4.3550999999999999E-2</c:v>
                </c:pt>
                <c:pt idx="382">
                  <c:v>-2.2984999999999998E-2</c:v>
                </c:pt>
                <c:pt idx="383">
                  <c:v>-0.144174</c:v>
                </c:pt>
                <c:pt idx="384">
                  <c:v>-0.16222</c:v>
                </c:pt>
                <c:pt idx="385">
                  <c:v>-0.15356400000000001</c:v>
                </c:pt>
                <c:pt idx="386">
                  <c:v>-0.11835</c:v>
                </c:pt>
                <c:pt idx="387">
                  <c:v>-0.11924</c:v>
                </c:pt>
                <c:pt idx="388">
                  <c:v>-3.653E-2</c:v>
                </c:pt>
                <c:pt idx="389">
                  <c:v>1.4045E-2</c:v>
                </c:pt>
                <c:pt idx="390">
                  <c:v>-9.5743999999999996E-2</c:v>
                </c:pt>
                <c:pt idx="391">
                  <c:v>-6.0284999999999998E-2</c:v>
                </c:pt>
                <c:pt idx="392">
                  <c:v>-0.129136</c:v>
                </c:pt>
                <c:pt idx="393">
                  <c:v>-0.153277</c:v>
                </c:pt>
                <c:pt idx="394">
                  <c:v>-0.167326</c:v>
                </c:pt>
                <c:pt idx="395">
                  <c:v>-0.113561</c:v>
                </c:pt>
                <c:pt idx="396">
                  <c:v>-8.9533000000000001E-2</c:v>
                </c:pt>
                <c:pt idx="397">
                  <c:v>-0.19938800000000001</c:v>
                </c:pt>
                <c:pt idx="398">
                  <c:v>-0.161772</c:v>
                </c:pt>
                <c:pt idx="399">
                  <c:v>-9.1013999999999998E-2</c:v>
                </c:pt>
                <c:pt idx="400">
                  <c:v>-9.9069000000000004E-2</c:v>
                </c:pt>
                <c:pt idx="401">
                  <c:v>-0.12751000000000001</c:v>
                </c:pt>
                <c:pt idx="402">
                  <c:v>-5.3619E-2</c:v>
                </c:pt>
                <c:pt idx="403">
                  <c:v>-2.6780999999999999E-2</c:v>
                </c:pt>
                <c:pt idx="404">
                  <c:v>-0.122457</c:v>
                </c:pt>
                <c:pt idx="405">
                  <c:v>-9.9872000000000002E-2</c:v>
                </c:pt>
                <c:pt idx="406">
                  <c:v>-0.157942</c:v>
                </c:pt>
                <c:pt idx="407">
                  <c:v>-0.107695</c:v>
                </c:pt>
                <c:pt idx="408">
                  <c:v>-8.6330000000000004E-2</c:v>
                </c:pt>
                <c:pt idx="409">
                  <c:v>2.4736999999999999E-2</c:v>
                </c:pt>
                <c:pt idx="410">
                  <c:v>8.6832999999999994E-2</c:v>
                </c:pt>
                <c:pt idx="411">
                  <c:v>-1.4762000000000001E-2</c:v>
                </c:pt>
                <c:pt idx="412">
                  <c:v>1.2414E-2</c:v>
                </c:pt>
                <c:pt idx="413">
                  <c:v>4.2254E-2</c:v>
                </c:pt>
                <c:pt idx="414">
                  <c:v>2.9326999999999999E-2</c:v>
                </c:pt>
                <c:pt idx="415">
                  <c:v>7.0715E-2</c:v>
                </c:pt>
                <c:pt idx="416">
                  <c:v>0.185422</c:v>
                </c:pt>
                <c:pt idx="417">
                  <c:v>0.24004300000000001</c:v>
                </c:pt>
                <c:pt idx="418">
                  <c:v>0.12379800000000001</c:v>
                </c:pt>
                <c:pt idx="419">
                  <c:v>0.109129</c:v>
                </c:pt>
                <c:pt idx="420">
                  <c:v>0.141294</c:v>
                </c:pt>
                <c:pt idx="421">
                  <c:v>0.17496700000000001</c:v>
                </c:pt>
                <c:pt idx="422">
                  <c:v>6.1310000000000003E-2</c:v>
                </c:pt>
                <c:pt idx="423">
                  <c:v>0.131577</c:v>
                </c:pt>
                <c:pt idx="424">
                  <c:v>0.19051399999999999</c:v>
                </c:pt>
                <c:pt idx="425">
                  <c:v>9.8470000000000002E-2</c:v>
                </c:pt>
                <c:pt idx="426">
                  <c:v>8.0756999999999995E-2</c:v>
                </c:pt>
                <c:pt idx="427">
                  <c:v>5.6952999999999997E-2</c:v>
                </c:pt>
                <c:pt idx="428">
                  <c:v>8.4677000000000002E-2</c:v>
                </c:pt>
                <c:pt idx="429">
                  <c:v>0.12837399999999999</c:v>
                </c:pt>
                <c:pt idx="430">
                  <c:v>0.16516900000000001</c:v>
                </c:pt>
                <c:pt idx="431">
                  <c:v>0.138548</c:v>
                </c:pt>
                <c:pt idx="432">
                  <c:v>-2.2815999999999999E-2</c:v>
                </c:pt>
                <c:pt idx="433">
                  <c:v>-8.3771999999999999E-2</c:v>
                </c:pt>
                <c:pt idx="434">
                  <c:v>-4.6280000000000002E-2</c:v>
                </c:pt>
                <c:pt idx="435">
                  <c:v>-2.0898E-2</c:v>
                </c:pt>
                <c:pt idx="436">
                  <c:v>-6.5905000000000005E-2</c:v>
                </c:pt>
                <c:pt idx="437">
                  <c:v>1.0739E-2</c:v>
                </c:pt>
                <c:pt idx="438">
                  <c:v>7.5139999999999998E-2</c:v>
                </c:pt>
                <c:pt idx="439">
                  <c:v>1.0991000000000001E-2</c:v>
                </c:pt>
                <c:pt idx="440">
                  <c:v>2.4879999999999999E-2</c:v>
                </c:pt>
                <c:pt idx="441">
                  <c:v>3.2544999999999998E-2</c:v>
                </c:pt>
                <c:pt idx="442">
                  <c:v>-2.07E-2</c:v>
                </c:pt>
                <c:pt idx="443">
                  <c:v>-3.6693999999999997E-2</c:v>
                </c:pt>
                <c:pt idx="444">
                  <c:v>5.3097999999999999E-2</c:v>
                </c:pt>
                <c:pt idx="445">
                  <c:v>0.116744</c:v>
                </c:pt>
                <c:pt idx="446">
                  <c:v>1.7683000000000001E-2</c:v>
                </c:pt>
                <c:pt idx="447">
                  <c:v>-2.6209E-2</c:v>
                </c:pt>
                <c:pt idx="448">
                  <c:v>3.4869999999999998E-2</c:v>
                </c:pt>
                <c:pt idx="449">
                  <c:v>0.13897000000000001</c:v>
                </c:pt>
                <c:pt idx="450">
                  <c:v>0.12772800000000001</c:v>
                </c:pt>
                <c:pt idx="451">
                  <c:v>0.15552199999999999</c:v>
                </c:pt>
                <c:pt idx="452">
                  <c:v>0.186552</c:v>
                </c:pt>
                <c:pt idx="453">
                  <c:v>8.9260999999999993E-2</c:v>
                </c:pt>
                <c:pt idx="454">
                  <c:v>5.7695000000000003E-2</c:v>
                </c:pt>
                <c:pt idx="455">
                  <c:v>3.9281000000000003E-2</c:v>
                </c:pt>
                <c:pt idx="456">
                  <c:v>-2.6832999999999999E-2</c:v>
                </c:pt>
                <c:pt idx="457">
                  <c:v>-5.7675999999999998E-2</c:v>
                </c:pt>
                <c:pt idx="458">
                  <c:v>-1.4355E-2</c:v>
                </c:pt>
                <c:pt idx="459">
                  <c:v>8.3160000000000005E-3</c:v>
                </c:pt>
                <c:pt idx="460">
                  <c:v>-9.0630000000000002E-2</c:v>
                </c:pt>
                <c:pt idx="461">
                  <c:v>-0.134655</c:v>
                </c:pt>
                <c:pt idx="462">
                  <c:v>-0.14840999999999999</c:v>
                </c:pt>
                <c:pt idx="463">
                  <c:v>-0.15965699999999999</c:v>
                </c:pt>
                <c:pt idx="464">
                  <c:v>-0.179675</c:v>
                </c:pt>
                <c:pt idx="465">
                  <c:v>-0.17068900000000001</c:v>
                </c:pt>
                <c:pt idx="466">
                  <c:v>-0.14896799999999999</c:v>
                </c:pt>
                <c:pt idx="467">
                  <c:v>-0.211647</c:v>
                </c:pt>
                <c:pt idx="468">
                  <c:v>-0.2374</c:v>
                </c:pt>
                <c:pt idx="469">
                  <c:v>-0.234405</c:v>
                </c:pt>
                <c:pt idx="470">
                  <c:v>-0.23229900000000001</c:v>
                </c:pt>
                <c:pt idx="471">
                  <c:v>-0.23955599999999999</c:v>
                </c:pt>
                <c:pt idx="472">
                  <c:v>-0.203407</c:v>
                </c:pt>
                <c:pt idx="473">
                  <c:v>-0.17388300000000001</c:v>
                </c:pt>
                <c:pt idx="474">
                  <c:v>-0.23788300000000001</c:v>
                </c:pt>
                <c:pt idx="475">
                  <c:v>-0.252195</c:v>
                </c:pt>
                <c:pt idx="476">
                  <c:v>-0.229439</c:v>
                </c:pt>
                <c:pt idx="477">
                  <c:v>-0.19776299999999999</c:v>
                </c:pt>
                <c:pt idx="478">
                  <c:v>-0.16340099999999999</c:v>
                </c:pt>
                <c:pt idx="479">
                  <c:v>-0.206151</c:v>
                </c:pt>
                <c:pt idx="480">
                  <c:v>-0.22078200000000001</c:v>
                </c:pt>
                <c:pt idx="481">
                  <c:v>-0.30007099999999998</c:v>
                </c:pt>
                <c:pt idx="482">
                  <c:v>-0.32889600000000002</c:v>
                </c:pt>
                <c:pt idx="483">
                  <c:v>-0.34782400000000002</c:v>
                </c:pt>
                <c:pt idx="484">
                  <c:v>-0.39325399999999999</c:v>
                </c:pt>
                <c:pt idx="485">
                  <c:v>-0.373805</c:v>
                </c:pt>
                <c:pt idx="486">
                  <c:v>-0.21105699999999999</c:v>
                </c:pt>
                <c:pt idx="487">
                  <c:v>-0.169989</c:v>
                </c:pt>
                <c:pt idx="488">
                  <c:v>-0.223804</c:v>
                </c:pt>
                <c:pt idx="489">
                  <c:v>-0.177512</c:v>
                </c:pt>
                <c:pt idx="490">
                  <c:v>-8.5333999999999993E-2</c:v>
                </c:pt>
                <c:pt idx="491">
                  <c:v>1.4531000000000001E-2</c:v>
                </c:pt>
                <c:pt idx="492">
                  <c:v>0.108719</c:v>
                </c:pt>
                <c:pt idx="493">
                  <c:v>0.15079799999999999</c:v>
                </c:pt>
                <c:pt idx="494">
                  <c:v>0.17422599999999999</c:v>
                </c:pt>
                <c:pt idx="495">
                  <c:v>1.2632000000000001E-2</c:v>
                </c:pt>
                <c:pt idx="496">
                  <c:v>-7.2442000000000006E-2</c:v>
                </c:pt>
                <c:pt idx="497">
                  <c:v>-0.101095</c:v>
                </c:pt>
                <c:pt idx="498">
                  <c:v>-0.13606399999999999</c:v>
                </c:pt>
                <c:pt idx="499">
                  <c:v>-0.17153399999999999</c:v>
                </c:pt>
                <c:pt idx="500">
                  <c:v>-0.14879300000000001</c:v>
                </c:pt>
                <c:pt idx="501">
                  <c:v>-0.15463399999999999</c:v>
                </c:pt>
                <c:pt idx="502">
                  <c:v>-0.21412400000000001</c:v>
                </c:pt>
                <c:pt idx="503">
                  <c:v>-0.200075</c:v>
                </c:pt>
                <c:pt idx="504">
                  <c:v>-0.15357499999999999</c:v>
                </c:pt>
                <c:pt idx="505">
                  <c:v>-5.9665000000000003E-2</c:v>
                </c:pt>
                <c:pt idx="506">
                  <c:v>2.0063999999999999E-2</c:v>
                </c:pt>
                <c:pt idx="507">
                  <c:v>0.129052</c:v>
                </c:pt>
                <c:pt idx="508">
                  <c:v>0.18052399999999999</c:v>
                </c:pt>
                <c:pt idx="509">
                  <c:v>9.5352000000000006E-2</c:v>
                </c:pt>
                <c:pt idx="510">
                  <c:v>0.106226</c:v>
                </c:pt>
                <c:pt idx="511">
                  <c:v>0.133436</c:v>
                </c:pt>
                <c:pt idx="512">
                  <c:v>0.11740299999999999</c:v>
                </c:pt>
                <c:pt idx="513">
                  <c:v>8.7845000000000006E-2</c:v>
                </c:pt>
                <c:pt idx="514">
                  <c:v>0.16231999999999999</c:v>
                </c:pt>
                <c:pt idx="515">
                  <c:v>0.19870399999999999</c:v>
                </c:pt>
                <c:pt idx="516">
                  <c:v>9.5065999999999998E-2</c:v>
                </c:pt>
                <c:pt idx="517">
                  <c:v>4.6765000000000001E-2</c:v>
                </c:pt>
                <c:pt idx="518">
                  <c:v>4.6059999999999997E-2</c:v>
                </c:pt>
                <c:pt idx="519">
                  <c:v>3.7144999999999997E-2</c:v>
                </c:pt>
                <c:pt idx="520">
                  <c:v>1.4744E-2</c:v>
                </c:pt>
                <c:pt idx="521">
                  <c:v>2.4674999999999999E-2</c:v>
                </c:pt>
                <c:pt idx="522">
                  <c:v>2.7407999999999998E-2</c:v>
                </c:pt>
                <c:pt idx="523">
                  <c:v>-6.6270999999999997E-2</c:v>
                </c:pt>
                <c:pt idx="524">
                  <c:v>-0.111549</c:v>
                </c:pt>
                <c:pt idx="525">
                  <c:v>-0.14879800000000001</c:v>
                </c:pt>
                <c:pt idx="526">
                  <c:v>-0.188274</c:v>
                </c:pt>
                <c:pt idx="527">
                  <c:v>-0.216781</c:v>
                </c:pt>
                <c:pt idx="528">
                  <c:v>-0.178061</c:v>
                </c:pt>
                <c:pt idx="529">
                  <c:v>-0.16104199999999999</c:v>
                </c:pt>
                <c:pt idx="530">
                  <c:v>-0.22273000000000001</c:v>
                </c:pt>
                <c:pt idx="531">
                  <c:v>-0.24643000000000001</c:v>
                </c:pt>
                <c:pt idx="532">
                  <c:v>-0.231628</c:v>
                </c:pt>
                <c:pt idx="533">
                  <c:v>-0.23987</c:v>
                </c:pt>
                <c:pt idx="534">
                  <c:v>-0.232714</c:v>
                </c:pt>
                <c:pt idx="535">
                  <c:v>-0.19437699999999999</c:v>
                </c:pt>
                <c:pt idx="536">
                  <c:v>-0.16638800000000001</c:v>
                </c:pt>
                <c:pt idx="537">
                  <c:v>-0.238153</c:v>
                </c:pt>
                <c:pt idx="538">
                  <c:v>-0.25925999999999999</c:v>
                </c:pt>
                <c:pt idx="539">
                  <c:v>-0.26817600000000003</c:v>
                </c:pt>
                <c:pt idx="540">
                  <c:v>-0.29157</c:v>
                </c:pt>
                <c:pt idx="541">
                  <c:v>-0.29460900000000001</c:v>
                </c:pt>
                <c:pt idx="542">
                  <c:v>-0.24902199999999999</c:v>
                </c:pt>
                <c:pt idx="543">
                  <c:v>-0.238868</c:v>
                </c:pt>
                <c:pt idx="544">
                  <c:v>-0.30138599999999999</c:v>
                </c:pt>
                <c:pt idx="545">
                  <c:v>-0.279584</c:v>
                </c:pt>
                <c:pt idx="546">
                  <c:v>-0.25356899999999999</c:v>
                </c:pt>
                <c:pt idx="547">
                  <c:v>-0.2671</c:v>
                </c:pt>
                <c:pt idx="548">
                  <c:v>-0.28353899999999999</c:v>
                </c:pt>
                <c:pt idx="549">
                  <c:v>-0.25591700000000001</c:v>
                </c:pt>
                <c:pt idx="550">
                  <c:v>-0.23813400000000001</c:v>
                </c:pt>
                <c:pt idx="551">
                  <c:v>-0.367163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C8-4E7B-83D3-5242563E84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pocet_pripadu_7dni_100_000_65_nyni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53</c:f>
              <c:numCache>
                <c:formatCode>m/d/yyyy</c:formatCode>
                <c:ptCount val="55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</c:numCache>
            </c:numRef>
          </c:cat>
          <c:val>
            <c:numRef>
              <c:f>Sheet1!$B$2:$B$553</c:f>
              <c:numCache>
                <c:formatCode>#\ ##0.0</c:formatCode>
                <c:ptCount val="552"/>
                <c:pt idx="0">
                  <c:v>12.417053618504999</c:v>
                </c:pt>
                <c:pt idx="1">
                  <c:v>13.297367121309</c:v>
                </c:pt>
                <c:pt idx="2">
                  <c:v>14.270345203357</c:v>
                </c:pt>
                <c:pt idx="3">
                  <c:v>15.243323285403999</c:v>
                </c:pt>
                <c:pt idx="4">
                  <c:v>15.984639919344</c:v>
                </c:pt>
                <c:pt idx="5">
                  <c:v>17.003950291012998</c:v>
                </c:pt>
                <c:pt idx="6">
                  <c:v>18.254922110787</c:v>
                </c:pt>
                <c:pt idx="7">
                  <c:v>21.081191777686001</c:v>
                </c:pt>
                <c:pt idx="8">
                  <c:v>23.675799996477998</c:v>
                </c:pt>
                <c:pt idx="9">
                  <c:v>26.085079056784998</c:v>
                </c:pt>
                <c:pt idx="10">
                  <c:v>28.633354985956</c:v>
                </c:pt>
                <c:pt idx="11">
                  <c:v>34.424891188617003</c:v>
                </c:pt>
                <c:pt idx="12">
                  <c:v>36.370847352711003</c:v>
                </c:pt>
                <c:pt idx="13">
                  <c:v>37.668151462108</c:v>
                </c:pt>
                <c:pt idx="14">
                  <c:v>39.799436784687003</c:v>
                </c:pt>
                <c:pt idx="15">
                  <c:v>43.181693927041003</c:v>
                </c:pt>
                <c:pt idx="16">
                  <c:v>50.594860266447</c:v>
                </c:pt>
                <c:pt idx="17">
                  <c:v>52.911474747512003</c:v>
                </c:pt>
                <c:pt idx="18">
                  <c:v>51.336176900387997</c:v>
                </c:pt>
                <c:pt idx="19">
                  <c:v>52.309154982434997</c:v>
                </c:pt>
                <c:pt idx="20">
                  <c:v>54.579437173877999</c:v>
                </c:pt>
                <c:pt idx="21">
                  <c:v>58.610346370930003</c:v>
                </c:pt>
                <c:pt idx="22">
                  <c:v>60.602634824646003</c:v>
                </c:pt>
                <c:pt idx="23">
                  <c:v>63.336239912301998</c:v>
                </c:pt>
                <c:pt idx="24">
                  <c:v>69.915425038525001</c:v>
                </c:pt>
                <c:pt idx="25">
                  <c:v>71.815048912997995</c:v>
                </c:pt>
                <c:pt idx="26">
                  <c:v>73.112353022394004</c:v>
                </c:pt>
                <c:pt idx="27">
                  <c:v>74.826647738380998</c:v>
                </c:pt>
                <c:pt idx="28">
                  <c:v>75.660628951565002</c:v>
                </c:pt>
                <c:pt idx="29">
                  <c:v>82.656804684378997</c:v>
                </c:pt>
                <c:pt idx="30">
                  <c:v>90.162635603027994</c:v>
                </c:pt>
                <c:pt idx="31">
                  <c:v>98.548780024481005</c:v>
                </c:pt>
                <c:pt idx="32">
                  <c:v>107.444579631769</c:v>
                </c:pt>
                <c:pt idx="33">
                  <c:v>113.745771020264</c:v>
                </c:pt>
                <c:pt idx="34">
                  <c:v>131.30570878673299</c:v>
                </c:pt>
                <c:pt idx="35">
                  <c:v>146.68802894100099</c:v>
                </c:pt>
                <c:pt idx="36">
                  <c:v>162.53367199148201</c:v>
                </c:pt>
                <c:pt idx="37">
                  <c:v>173.931415238319</c:v>
                </c:pt>
                <c:pt idx="38">
                  <c:v>202.14777961768399</c:v>
                </c:pt>
                <c:pt idx="39">
                  <c:v>211.831228148533</c:v>
                </c:pt>
                <c:pt idx="40">
                  <c:v>221.70000583786799</c:v>
                </c:pt>
                <c:pt idx="41">
                  <c:v>228.64984928106099</c:v>
                </c:pt>
                <c:pt idx="42">
                  <c:v>254.82759291708999</c:v>
                </c:pt>
                <c:pt idx="43">
                  <c:v>279.33737412675202</c:v>
                </c:pt>
                <c:pt idx="44">
                  <c:v>303.38383244020099</c:v>
                </c:pt>
                <c:pt idx="45">
                  <c:v>319.04414633219602</c:v>
                </c:pt>
                <c:pt idx="46">
                  <c:v>347.399507580425</c:v>
                </c:pt>
                <c:pt idx="47">
                  <c:v>360.92853614984199</c:v>
                </c:pt>
                <c:pt idx="48">
                  <c:v>385.62364651798902</c:v>
                </c:pt>
                <c:pt idx="49">
                  <c:v>410.55041833424201</c:v>
                </c:pt>
                <c:pt idx="50">
                  <c:v>448.54289582370001</c:v>
                </c:pt>
                <c:pt idx="51">
                  <c:v>482.18013808875497</c:v>
                </c:pt>
                <c:pt idx="52">
                  <c:v>516.558696987752</c:v>
                </c:pt>
                <c:pt idx="53">
                  <c:v>542.64377604453796</c:v>
                </c:pt>
                <c:pt idx="54">
                  <c:v>560.20371381100597</c:v>
                </c:pt>
                <c:pt idx="55">
                  <c:v>582.02622222263403</c:v>
                </c:pt>
                <c:pt idx="56">
                  <c:v>614.69048640564199</c:v>
                </c:pt>
                <c:pt idx="57">
                  <c:v>613.346850006625</c:v>
                </c:pt>
                <c:pt idx="58">
                  <c:v>618.675063313073</c:v>
                </c:pt>
                <c:pt idx="59">
                  <c:v>625.671239045888</c:v>
                </c:pt>
                <c:pt idx="60">
                  <c:v>629.88747740142503</c:v>
                </c:pt>
                <c:pt idx="61">
                  <c:v>627.06120773452699</c:v>
                </c:pt>
                <c:pt idx="62">
                  <c:v>629.47048679483396</c:v>
                </c:pt>
                <c:pt idx="63">
                  <c:v>616.68277485935801</c:v>
                </c:pt>
                <c:pt idx="64">
                  <c:v>644.76014236985895</c:v>
                </c:pt>
                <c:pt idx="65">
                  <c:v>662.59807387405499</c:v>
                </c:pt>
                <c:pt idx="66">
                  <c:v>658.84515841473103</c:v>
                </c:pt>
                <c:pt idx="67">
                  <c:v>639.84891967000203</c:v>
                </c:pt>
                <c:pt idx="68">
                  <c:v>620.76001634603097</c:v>
                </c:pt>
                <c:pt idx="69">
                  <c:v>593.47029775909198</c:v>
                </c:pt>
                <c:pt idx="70">
                  <c:v>575.21537564830396</c:v>
                </c:pt>
                <c:pt idx="71">
                  <c:v>542.08778856908202</c:v>
                </c:pt>
                <c:pt idx="72">
                  <c:v>506.272928691826</c:v>
                </c:pt>
                <c:pt idx="73">
                  <c:v>478.24189347094602</c:v>
                </c:pt>
                <c:pt idx="74">
                  <c:v>453.08346020658598</c:v>
                </c:pt>
                <c:pt idx="75">
                  <c:v>437.65480776269698</c:v>
                </c:pt>
                <c:pt idx="76">
                  <c:v>442.24170443520399</c:v>
                </c:pt>
                <c:pt idx="77">
                  <c:v>399.15267508740499</c:v>
                </c:pt>
                <c:pt idx="78">
                  <c:v>361.391859046055</c:v>
                </c:pt>
                <c:pt idx="79">
                  <c:v>340.54232871647503</c:v>
                </c:pt>
                <c:pt idx="80">
                  <c:v>315.52289232097797</c:v>
                </c:pt>
                <c:pt idx="81">
                  <c:v>304.21781365338398</c:v>
                </c:pt>
                <c:pt idx="82">
                  <c:v>302.874177254367</c:v>
                </c:pt>
                <c:pt idx="83">
                  <c:v>290.64245279434601</c:v>
                </c:pt>
                <c:pt idx="84">
                  <c:v>307.78539995422301</c:v>
                </c:pt>
                <c:pt idx="85">
                  <c:v>300.92822109027202</c:v>
                </c:pt>
                <c:pt idx="86">
                  <c:v>285.77756238411098</c:v>
                </c:pt>
                <c:pt idx="87">
                  <c:v>274.51881600613802</c:v>
                </c:pt>
                <c:pt idx="88">
                  <c:v>266.64232677051803</c:v>
                </c:pt>
                <c:pt idx="89">
                  <c:v>263.955053972484</c:v>
                </c:pt>
                <c:pt idx="90">
                  <c:v>254.966589785954</c:v>
                </c:pt>
                <c:pt idx="91">
                  <c:v>243.24452051176701</c:v>
                </c:pt>
                <c:pt idx="92">
                  <c:v>239.12094673547301</c:v>
                </c:pt>
                <c:pt idx="93">
                  <c:v>234.163391745995</c:v>
                </c:pt>
                <c:pt idx="94">
                  <c:v>234.487717773344</c:v>
                </c:pt>
                <c:pt idx="95">
                  <c:v>241.622890375022</c:v>
                </c:pt>
                <c:pt idx="96">
                  <c:v>240.37191855524799</c:v>
                </c:pt>
                <c:pt idx="97">
                  <c:v>241.57655808540099</c:v>
                </c:pt>
                <c:pt idx="98">
                  <c:v>247.59975573616899</c:v>
                </c:pt>
                <c:pt idx="99">
                  <c:v>258.67317295565698</c:v>
                </c:pt>
                <c:pt idx="100">
                  <c:v>266.59599448089699</c:v>
                </c:pt>
                <c:pt idx="101">
                  <c:v>272.80452129014998</c:v>
                </c:pt>
                <c:pt idx="102">
                  <c:v>271.229223443026</c:v>
                </c:pt>
                <c:pt idx="103">
                  <c:v>277.206088804172</c:v>
                </c:pt>
                <c:pt idx="104">
                  <c:v>284.15593224736602</c:v>
                </c:pt>
                <c:pt idx="105">
                  <c:v>290.41079134623999</c:v>
                </c:pt>
                <c:pt idx="106">
                  <c:v>299.35292324314901</c:v>
                </c:pt>
                <c:pt idx="107">
                  <c:v>307.13674789952501</c:v>
                </c:pt>
                <c:pt idx="108">
                  <c:v>323.12138781887001</c:v>
                </c:pt>
                <c:pt idx="109">
                  <c:v>330.39555728941201</c:v>
                </c:pt>
                <c:pt idx="110">
                  <c:v>338.781701710866</c:v>
                </c:pt>
                <c:pt idx="111">
                  <c:v>355.878316581121</c:v>
                </c:pt>
                <c:pt idx="112">
                  <c:v>379.73944573608497</c:v>
                </c:pt>
                <c:pt idx="113">
                  <c:v>415.50797332372002</c:v>
                </c:pt>
                <c:pt idx="114">
                  <c:v>391.41518272065002</c:v>
                </c:pt>
                <c:pt idx="115">
                  <c:v>352.86671775573802</c:v>
                </c:pt>
                <c:pt idx="116">
                  <c:v>345.63888057481603</c:v>
                </c:pt>
                <c:pt idx="117">
                  <c:v>352.218065701039</c:v>
                </c:pt>
                <c:pt idx="118">
                  <c:v>374.27223556077303</c:v>
                </c:pt>
                <c:pt idx="119">
                  <c:v>413.51568487000497</c:v>
                </c:pt>
                <c:pt idx="120">
                  <c:v>448.03324063786499</c:v>
                </c:pt>
                <c:pt idx="121">
                  <c:v>523.78653416867303</c:v>
                </c:pt>
                <c:pt idx="122">
                  <c:v>534.21129933346299</c:v>
                </c:pt>
                <c:pt idx="123">
                  <c:v>556.17280461395399</c:v>
                </c:pt>
                <c:pt idx="124">
                  <c:v>578.73662965952201</c:v>
                </c:pt>
                <c:pt idx="125">
                  <c:v>605.748354508734</c:v>
                </c:pt>
                <c:pt idx="126">
                  <c:v>633.45506370226497</c:v>
                </c:pt>
                <c:pt idx="127">
                  <c:v>648.83738385653203</c:v>
                </c:pt>
                <c:pt idx="128">
                  <c:v>679.74102103393204</c:v>
                </c:pt>
                <c:pt idx="129">
                  <c:v>768.28202650021603</c:v>
                </c:pt>
                <c:pt idx="130">
                  <c:v>795.10842219094195</c:v>
                </c:pt>
                <c:pt idx="131">
                  <c:v>778.84578853386995</c:v>
                </c:pt>
                <c:pt idx="132">
                  <c:v>753.36302924216102</c:v>
                </c:pt>
                <c:pt idx="133">
                  <c:v>701.84152318328699</c:v>
                </c:pt>
                <c:pt idx="134">
                  <c:v>648.14239951221305</c:v>
                </c:pt>
                <c:pt idx="135">
                  <c:v>581.28490558869305</c:v>
                </c:pt>
                <c:pt idx="136">
                  <c:v>539.81750637763901</c:v>
                </c:pt>
                <c:pt idx="137">
                  <c:v>505.438947478643</c:v>
                </c:pt>
                <c:pt idx="138">
                  <c:v>491.261266854528</c:v>
                </c:pt>
                <c:pt idx="139">
                  <c:v>467.07581167221502</c:v>
                </c:pt>
                <c:pt idx="140">
                  <c:v>447.10659484543999</c:v>
                </c:pt>
                <c:pt idx="141">
                  <c:v>423.01380424236902</c:v>
                </c:pt>
                <c:pt idx="142">
                  <c:v>414.85932126902202</c:v>
                </c:pt>
                <c:pt idx="143">
                  <c:v>401.28396040998501</c:v>
                </c:pt>
                <c:pt idx="144">
                  <c:v>392.110167064969</c:v>
                </c:pt>
                <c:pt idx="145">
                  <c:v>387.75493184056802</c:v>
                </c:pt>
                <c:pt idx="146">
                  <c:v>383.029038299197</c:v>
                </c:pt>
                <c:pt idx="147">
                  <c:v>374.55022929850099</c:v>
                </c:pt>
                <c:pt idx="148">
                  <c:v>372.65060542402802</c:v>
                </c:pt>
                <c:pt idx="149">
                  <c:v>372.60427313440698</c:v>
                </c:pt>
                <c:pt idx="150">
                  <c:v>365.88609113932</c:v>
                </c:pt>
                <c:pt idx="151">
                  <c:v>363.15248605166403</c:v>
                </c:pt>
                <c:pt idx="152">
                  <c:v>364.82044847803002</c:v>
                </c:pt>
                <c:pt idx="153">
                  <c:v>363.24515063090598</c:v>
                </c:pt>
                <c:pt idx="154">
                  <c:v>364.58878702992399</c:v>
                </c:pt>
                <c:pt idx="155">
                  <c:v>363.94013497522599</c:v>
                </c:pt>
                <c:pt idx="156">
                  <c:v>363.89380268560399</c:v>
                </c:pt>
                <c:pt idx="157">
                  <c:v>367.55405356568599</c:v>
                </c:pt>
                <c:pt idx="158">
                  <c:v>372.46527626554303</c:v>
                </c:pt>
                <c:pt idx="159">
                  <c:v>372.41894397592199</c:v>
                </c:pt>
                <c:pt idx="160">
                  <c:v>368.61969622697598</c:v>
                </c:pt>
                <c:pt idx="161">
                  <c:v>369.73167117788699</c:v>
                </c:pt>
                <c:pt idx="162">
                  <c:v>367.46138898644398</c:v>
                </c:pt>
                <c:pt idx="163">
                  <c:v>370.24132636372099</c:v>
                </c:pt>
                <c:pt idx="164">
                  <c:v>366.34941403553302</c:v>
                </c:pt>
                <c:pt idx="165">
                  <c:v>364.31079329219602</c:v>
                </c:pt>
                <c:pt idx="166">
                  <c:v>364.727783898788</c:v>
                </c:pt>
                <c:pt idx="167">
                  <c:v>373.06759603062</c:v>
                </c:pt>
                <c:pt idx="168">
                  <c:v>386.78195375852101</c:v>
                </c:pt>
                <c:pt idx="169">
                  <c:v>390.34954005935998</c:v>
                </c:pt>
                <c:pt idx="170">
                  <c:v>400.17198545907399</c:v>
                </c:pt>
                <c:pt idx="171">
                  <c:v>418.19524612175502</c:v>
                </c:pt>
                <c:pt idx="172">
                  <c:v>428.249352969575</c:v>
                </c:pt>
                <c:pt idx="173">
                  <c:v>434.08722146185698</c:v>
                </c:pt>
                <c:pt idx="174">
                  <c:v>449.376877036883</c:v>
                </c:pt>
                <c:pt idx="175">
                  <c:v>465.54684611471299</c:v>
                </c:pt>
                <c:pt idx="176">
                  <c:v>487.04502849899097</c:v>
                </c:pt>
                <c:pt idx="177">
                  <c:v>505.90227037485602</c:v>
                </c:pt>
                <c:pt idx="178">
                  <c:v>523.36954356208196</c:v>
                </c:pt>
                <c:pt idx="179">
                  <c:v>528.37343084118095</c:v>
                </c:pt>
                <c:pt idx="180">
                  <c:v>531.75568798353504</c:v>
                </c:pt>
                <c:pt idx="181">
                  <c:v>541.90245941059698</c:v>
                </c:pt>
                <c:pt idx="182">
                  <c:v>555.477820269635</c:v>
                </c:pt>
                <c:pt idx="183">
                  <c:v>566.64390206836595</c:v>
                </c:pt>
                <c:pt idx="184">
                  <c:v>568.96051654943005</c:v>
                </c:pt>
                <c:pt idx="185">
                  <c:v>558.90640970160996</c:v>
                </c:pt>
                <c:pt idx="186">
                  <c:v>570.99913729276705</c:v>
                </c:pt>
                <c:pt idx="187">
                  <c:v>570.443149817311</c:v>
                </c:pt>
                <c:pt idx="188">
                  <c:v>556.17280461395399</c:v>
                </c:pt>
                <c:pt idx="189">
                  <c:v>536.80590755225501</c:v>
                </c:pt>
                <c:pt idx="190">
                  <c:v>530.04139326754705</c:v>
                </c:pt>
                <c:pt idx="191">
                  <c:v>510.211173309635</c:v>
                </c:pt>
                <c:pt idx="192">
                  <c:v>527.44678504875503</c:v>
                </c:pt>
                <c:pt idx="193">
                  <c:v>512.71311694918495</c:v>
                </c:pt>
                <c:pt idx="194">
                  <c:v>507.98722340781399</c:v>
                </c:pt>
                <c:pt idx="195">
                  <c:v>511.78647115675898</c:v>
                </c:pt>
                <c:pt idx="196">
                  <c:v>514.84440227176401</c:v>
                </c:pt>
                <c:pt idx="197">
                  <c:v>504.14164336924699</c:v>
                </c:pt>
                <c:pt idx="198">
                  <c:v>502.24201949477401</c:v>
                </c:pt>
                <c:pt idx="199">
                  <c:v>464.34220658455899</c:v>
                </c:pt>
                <c:pt idx="200">
                  <c:v>457.53136001023</c:v>
                </c:pt>
                <c:pt idx="201">
                  <c:v>452.80546646885801</c:v>
                </c:pt>
                <c:pt idx="202">
                  <c:v>433.53123398640201</c:v>
                </c:pt>
                <c:pt idx="203">
                  <c:v>413.70101402849002</c:v>
                </c:pt>
                <c:pt idx="204">
                  <c:v>392.01750248572699</c:v>
                </c:pt>
                <c:pt idx="205">
                  <c:v>378.11781559934002</c:v>
                </c:pt>
                <c:pt idx="206">
                  <c:v>366.48841090439703</c:v>
                </c:pt>
                <c:pt idx="207">
                  <c:v>356.89762695279001</c:v>
                </c:pt>
                <c:pt idx="208">
                  <c:v>351.61574593596299</c:v>
                </c:pt>
                <c:pt idx="209">
                  <c:v>347.30684300118298</c:v>
                </c:pt>
                <c:pt idx="210">
                  <c:v>332.1098520054</c:v>
                </c:pt>
                <c:pt idx="211">
                  <c:v>326.17931893387498</c:v>
                </c:pt>
                <c:pt idx="212">
                  <c:v>312.32596433711001</c:v>
                </c:pt>
                <c:pt idx="213">
                  <c:v>283.13662187569702</c:v>
                </c:pt>
                <c:pt idx="214">
                  <c:v>270.904897415677</c:v>
                </c:pt>
                <c:pt idx="215">
                  <c:v>270.95122970529798</c:v>
                </c:pt>
                <c:pt idx="216">
                  <c:v>232.72709076773501</c:v>
                </c:pt>
                <c:pt idx="217">
                  <c:v>210.48759174951601</c:v>
                </c:pt>
                <c:pt idx="218">
                  <c:v>200.665146349803</c:v>
                </c:pt>
                <c:pt idx="219">
                  <c:v>191.028030108575</c:v>
                </c:pt>
                <c:pt idx="220">
                  <c:v>198.67285789608701</c:v>
                </c:pt>
                <c:pt idx="221">
                  <c:v>198.11687042063201</c:v>
                </c:pt>
                <c:pt idx="222">
                  <c:v>192.37166650759201</c:v>
                </c:pt>
                <c:pt idx="223">
                  <c:v>205.66903362890201</c:v>
                </c:pt>
                <c:pt idx="224">
                  <c:v>199.92382971586201</c:v>
                </c:pt>
                <c:pt idx="225">
                  <c:v>181.390913867346</c:v>
                </c:pt>
                <c:pt idx="226">
                  <c:v>166.981571795126</c:v>
                </c:pt>
                <c:pt idx="227">
                  <c:v>157.622449291625</c:v>
                </c:pt>
                <c:pt idx="228">
                  <c:v>152.06257453706999</c:v>
                </c:pt>
                <c:pt idx="229">
                  <c:v>149.32896944941399</c:v>
                </c:pt>
                <c:pt idx="230">
                  <c:v>144.23241759107299</c:v>
                </c:pt>
                <c:pt idx="231">
                  <c:v>134.919627377193</c:v>
                </c:pt>
                <c:pt idx="232">
                  <c:v>127.08947043119601</c:v>
                </c:pt>
                <c:pt idx="233">
                  <c:v>123.892542447327</c:v>
                </c:pt>
                <c:pt idx="234">
                  <c:v>115.691727184358</c:v>
                </c:pt>
                <c:pt idx="235">
                  <c:v>111.614485697685</c:v>
                </c:pt>
                <c:pt idx="236">
                  <c:v>110.50251074677401</c:v>
                </c:pt>
                <c:pt idx="237">
                  <c:v>105.961946363888</c:v>
                </c:pt>
                <c:pt idx="238">
                  <c:v>101.097055953652</c:v>
                </c:pt>
                <c:pt idx="239">
                  <c:v>97.344140494328002</c:v>
                </c:pt>
                <c:pt idx="240">
                  <c:v>92.757243821819998</c:v>
                </c:pt>
                <c:pt idx="241">
                  <c:v>91.228278264318007</c:v>
                </c:pt>
                <c:pt idx="242">
                  <c:v>91.923262608637003</c:v>
                </c:pt>
                <c:pt idx="243">
                  <c:v>90.347964761512998</c:v>
                </c:pt>
                <c:pt idx="244">
                  <c:v>87.012039908779997</c:v>
                </c:pt>
                <c:pt idx="245">
                  <c:v>83.537118187184007</c:v>
                </c:pt>
                <c:pt idx="246">
                  <c:v>79.830535017480997</c:v>
                </c:pt>
                <c:pt idx="247">
                  <c:v>76.170284137398994</c:v>
                </c:pt>
                <c:pt idx="248">
                  <c:v>70.471412513979999</c:v>
                </c:pt>
                <c:pt idx="249">
                  <c:v>66.718497054655998</c:v>
                </c:pt>
                <c:pt idx="250">
                  <c:v>65.235863786774999</c:v>
                </c:pt>
                <c:pt idx="251">
                  <c:v>61.297619168964999</c:v>
                </c:pt>
                <c:pt idx="252">
                  <c:v>55.459750676683001</c:v>
                </c:pt>
                <c:pt idx="253">
                  <c:v>49.992540501370001</c:v>
                </c:pt>
                <c:pt idx="254">
                  <c:v>46.841944807122999</c:v>
                </c:pt>
                <c:pt idx="255">
                  <c:v>44.617994905301003</c:v>
                </c:pt>
                <c:pt idx="256">
                  <c:v>43.645016823253997</c:v>
                </c:pt>
                <c:pt idx="257">
                  <c:v>42.486709582722</c:v>
                </c:pt>
                <c:pt idx="258">
                  <c:v>38.131474358319998</c:v>
                </c:pt>
                <c:pt idx="259">
                  <c:v>36.092853614984001</c:v>
                </c:pt>
                <c:pt idx="260">
                  <c:v>34.193229740511001</c:v>
                </c:pt>
                <c:pt idx="261">
                  <c:v>31.227963204748001</c:v>
                </c:pt>
                <c:pt idx="262">
                  <c:v>28.633354985956</c:v>
                </c:pt>
                <c:pt idx="263">
                  <c:v>26.872727980347001</c:v>
                </c:pt>
                <c:pt idx="264">
                  <c:v>26.455737373756001</c:v>
                </c:pt>
                <c:pt idx="265">
                  <c:v>24.000126023827001</c:v>
                </c:pt>
                <c:pt idx="266">
                  <c:v>21.173856356929001</c:v>
                </c:pt>
                <c:pt idx="267">
                  <c:v>19.644890799426001</c:v>
                </c:pt>
                <c:pt idx="268">
                  <c:v>17.652602345710999</c:v>
                </c:pt>
                <c:pt idx="269">
                  <c:v>16.911285711769999</c:v>
                </c:pt>
                <c:pt idx="270">
                  <c:v>16.308965946693</c:v>
                </c:pt>
                <c:pt idx="271">
                  <c:v>15.938307629723001</c:v>
                </c:pt>
                <c:pt idx="272">
                  <c:v>15.150658706161</c:v>
                </c:pt>
                <c:pt idx="273">
                  <c:v>13.436363990173</c:v>
                </c:pt>
                <c:pt idx="274">
                  <c:v>12.231724460020001</c:v>
                </c:pt>
                <c:pt idx="275">
                  <c:v>12.046395301535</c:v>
                </c:pt>
                <c:pt idx="276">
                  <c:v>10.702758902516999</c:v>
                </c:pt>
                <c:pt idx="277">
                  <c:v>10.239436006304</c:v>
                </c:pt>
                <c:pt idx="278">
                  <c:v>9.8687776893339993</c:v>
                </c:pt>
                <c:pt idx="279">
                  <c:v>8.8494673176660008</c:v>
                </c:pt>
                <c:pt idx="280">
                  <c:v>7.9691538148610004</c:v>
                </c:pt>
                <c:pt idx="281">
                  <c:v>7.4131663394059997</c:v>
                </c:pt>
                <c:pt idx="282">
                  <c:v>6.4401882573589999</c:v>
                </c:pt>
                <c:pt idx="283">
                  <c:v>5.4208778856900004</c:v>
                </c:pt>
                <c:pt idx="284">
                  <c:v>5.0502195687200002</c:v>
                </c:pt>
                <c:pt idx="285">
                  <c:v>5.2355487272049999</c:v>
                </c:pt>
                <c:pt idx="286">
                  <c:v>4.67956125175</c:v>
                </c:pt>
                <c:pt idx="287">
                  <c:v>4.4015675140220001</c:v>
                </c:pt>
                <c:pt idx="288">
                  <c:v>4.4015675140220001</c:v>
                </c:pt>
                <c:pt idx="289">
                  <c:v>3.7529154593239999</c:v>
                </c:pt>
                <c:pt idx="290">
                  <c:v>4.1235737762940001</c:v>
                </c:pt>
                <c:pt idx="291">
                  <c:v>4.2625706451580001</c:v>
                </c:pt>
                <c:pt idx="292">
                  <c:v>4.0772414866729996</c:v>
                </c:pt>
                <c:pt idx="293">
                  <c:v>3.8919123281879999</c:v>
                </c:pt>
                <c:pt idx="294">
                  <c:v>3.8455800385660002</c:v>
                </c:pt>
                <c:pt idx="295">
                  <c:v>3.196927983868</c:v>
                </c:pt>
                <c:pt idx="296">
                  <c:v>2.9189342461410002</c:v>
                </c:pt>
                <c:pt idx="297">
                  <c:v>2.270282191443</c:v>
                </c:pt>
                <c:pt idx="298">
                  <c:v>2.270282191443</c:v>
                </c:pt>
                <c:pt idx="299">
                  <c:v>2.0849530329579999</c:v>
                </c:pt>
                <c:pt idx="300">
                  <c:v>1.945956164094</c:v>
                </c:pt>
                <c:pt idx="301">
                  <c:v>1.4826332678809999</c:v>
                </c:pt>
                <c:pt idx="302">
                  <c:v>1.297304109396</c:v>
                </c:pt>
                <c:pt idx="303">
                  <c:v>1.4363009782589999</c:v>
                </c:pt>
                <c:pt idx="304">
                  <c:v>1.4826332678809999</c:v>
                </c:pt>
                <c:pt idx="305">
                  <c:v>1.528965557502</c:v>
                </c:pt>
                <c:pt idx="306">
                  <c:v>1.80695929523</c:v>
                </c:pt>
                <c:pt idx="307">
                  <c:v>1.4363009782589999</c:v>
                </c:pt>
                <c:pt idx="308">
                  <c:v>1.1583072405320001</c:v>
                </c:pt>
                <c:pt idx="309">
                  <c:v>1.5752978471229999</c:v>
                </c:pt>
                <c:pt idx="310">
                  <c:v>1.667962426366</c:v>
                </c:pt>
                <c:pt idx="311">
                  <c:v>1.80695929523</c:v>
                </c:pt>
                <c:pt idx="312">
                  <c:v>1.760627005608</c:v>
                </c:pt>
                <c:pt idx="313">
                  <c:v>1.6216301367449999</c:v>
                </c:pt>
                <c:pt idx="314">
                  <c:v>2.5946082187920001</c:v>
                </c:pt>
                <c:pt idx="315">
                  <c:v>3.1505956942469999</c:v>
                </c:pt>
                <c:pt idx="316">
                  <c:v>3.1505956942469999</c:v>
                </c:pt>
                <c:pt idx="317">
                  <c:v>3.0579311150050001</c:v>
                </c:pt>
                <c:pt idx="318">
                  <c:v>3.196927983868</c:v>
                </c:pt>
                <c:pt idx="319">
                  <c:v>3.3822571423540002</c:v>
                </c:pt>
                <c:pt idx="320">
                  <c:v>3.4285894319749999</c:v>
                </c:pt>
                <c:pt idx="321">
                  <c:v>2.7799373772770002</c:v>
                </c:pt>
                <c:pt idx="322">
                  <c:v>2.5946082187920001</c:v>
                </c:pt>
                <c:pt idx="323">
                  <c:v>2.5019436395489998</c:v>
                </c:pt>
                <c:pt idx="324">
                  <c:v>2.5019436395489998</c:v>
                </c:pt>
                <c:pt idx="325">
                  <c:v>2.5019436395489998</c:v>
                </c:pt>
                <c:pt idx="326">
                  <c:v>2.3629467706849998</c:v>
                </c:pt>
                <c:pt idx="327">
                  <c:v>2.2239499018209998</c:v>
                </c:pt>
                <c:pt idx="328">
                  <c:v>2.5946082187920001</c:v>
                </c:pt>
                <c:pt idx="329">
                  <c:v>2.5946082187920001</c:v>
                </c:pt>
                <c:pt idx="330">
                  <c:v>2.4556113499280001</c:v>
                </c:pt>
                <c:pt idx="331">
                  <c:v>2.7799373772770002</c:v>
                </c:pt>
                <c:pt idx="332">
                  <c:v>2.5482759291699999</c:v>
                </c:pt>
                <c:pt idx="333">
                  <c:v>2.4556113499280001</c:v>
                </c:pt>
                <c:pt idx="334">
                  <c:v>2.5482759291699999</c:v>
                </c:pt>
                <c:pt idx="335">
                  <c:v>2.3629467706849998</c:v>
                </c:pt>
                <c:pt idx="336">
                  <c:v>2.409279060307</c:v>
                </c:pt>
                <c:pt idx="337">
                  <c:v>2.4556113499280001</c:v>
                </c:pt>
                <c:pt idx="338">
                  <c:v>2.1312853225790001</c:v>
                </c:pt>
                <c:pt idx="339">
                  <c:v>2.4556113499280001</c:v>
                </c:pt>
                <c:pt idx="340">
                  <c:v>2.4556113499280001</c:v>
                </c:pt>
                <c:pt idx="341">
                  <c:v>2.4556113499280001</c:v>
                </c:pt>
                <c:pt idx="342">
                  <c:v>2.4556113499280001</c:v>
                </c:pt>
                <c:pt idx="343">
                  <c:v>2.409279060307</c:v>
                </c:pt>
                <c:pt idx="344">
                  <c:v>2.6409405084130002</c:v>
                </c:pt>
                <c:pt idx="345">
                  <c:v>2.6872727980339999</c:v>
                </c:pt>
                <c:pt idx="346">
                  <c:v>2.5946082187920001</c:v>
                </c:pt>
                <c:pt idx="347">
                  <c:v>2.6409405084130002</c:v>
                </c:pt>
                <c:pt idx="348">
                  <c:v>2.7336050876560001</c:v>
                </c:pt>
                <c:pt idx="349">
                  <c:v>2.7336050876560001</c:v>
                </c:pt>
                <c:pt idx="350">
                  <c:v>3.1505956942469999</c:v>
                </c:pt>
                <c:pt idx="351">
                  <c:v>3.1505956942469999</c:v>
                </c:pt>
                <c:pt idx="352">
                  <c:v>2.9652665357619998</c:v>
                </c:pt>
                <c:pt idx="353">
                  <c:v>2.9189342461410002</c:v>
                </c:pt>
                <c:pt idx="354">
                  <c:v>3.1042634046259998</c:v>
                </c:pt>
                <c:pt idx="355">
                  <c:v>3.1042634046259998</c:v>
                </c:pt>
                <c:pt idx="356">
                  <c:v>3.0579311150050001</c:v>
                </c:pt>
                <c:pt idx="357">
                  <c:v>3.1505956942469999</c:v>
                </c:pt>
                <c:pt idx="358">
                  <c:v>3.4285894319749999</c:v>
                </c:pt>
                <c:pt idx="359">
                  <c:v>3.7529154593239999</c:v>
                </c:pt>
                <c:pt idx="360">
                  <c:v>3.7992477489450001</c:v>
                </c:pt>
                <c:pt idx="361">
                  <c:v>3.7529154593239999</c:v>
                </c:pt>
                <c:pt idx="362">
                  <c:v>3.6602508800810001</c:v>
                </c:pt>
                <c:pt idx="363">
                  <c:v>3.7065831697029998</c:v>
                </c:pt>
                <c:pt idx="364">
                  <c:v>3.5212540112170001</c:v>
                </c:pt>
                <c:pt idx="365">
                  <c:v>3.8455800385660002</c:v>
                </c:pt>
                <c:pt idx="366">
                  <c:v>4.1699060659159999</c:v>
                </c:pt>
                <c:pt idx="367">
                  <c:v>5.1428841479629996</c:v>
                </c:pt>
                <c:pt idx="368">
                  <c:v>5.4672101753120002</c:v>
                </c:pt>
                <c:pt idx="369">
                  <c:v>5.7915362026609998</c:v>
                </c:pt>
                <c:pt idx="370">
                  <c:v>6.4865205469799996</c:v>
                </c:pt>
                <c:pt idx="371">
                  <c:v>7.4594986290270002</c:v>
                </c:pt>
                <c:pt idx="372">
                  <c:v>7.4131663394059997</c:v>
                </c:pt>
                <c:pt idx="373">
                  <c:v>7.6911600771330004</c:v>
                </c:pt>
                <c:pt idx="374">
                  <c:v>7.8764892356190002</c:v>
                </c:pt>
                <c:pt idx="375">
                  <c:v>7.7838246563759999</c:v>
                </c:pt>
                <c:pt idx="376">
                  <c:v>7.6448277875119999</c:v>
                </c:pt>
                <c:pt idx="377">
                  <c:v>8.3398121318319998</c:v>
                </c:pt>
                <c:pt idx="378">
                  <c:v>8.9884641865300008</c:v>
                </c:pt>
                <c:pt idx="379">
                  <c:v>9.2201256346360001</c:v>
                </c:pt>
                <c:pt idx="380">
                  <c:v>9.7297808204699994</c:v>
                </c:pt>
                <c:pt idx="381">
                  <c:v>10.378432875168</c:v>
                </c:pt>
                <c:pt idx="382">
                  <c:v>10.517429744032</c:v>
                </c:pt>
                <c:pt idx="383">
                  <c:v>11.027084929866</c:v>
                </c:pt>
                <c:pt idx="384">
                  <c:v>10.841755771381001</c:v>
                </c:pt>
                <c:pt idx="385">
                  <c:v>10.563762033652999</c:v>
                </c:pt>
                <c:pt idx="386">
                  <c:v>11.073417219488</c:v>
                </c:pt>
                <c:pt idx="387">
                  <c:v>10.656426612896</c:v>
                </c:pt>
                <c:pt idx="388">
                  <c:v>10.285768295925999</c:v>
                </c:pt>
                <c:pt idx="389">
                  <c:v>10.980752640245001</c:v>
                </c:pt>
                <c:pt idx="390">
                  <c:v>11.027084929866</c:v>
                </c:pt>
                <c:pt idx="391">
                  <c:v>11.907398432671</c:v>
                </c:pt>
                <c:pt idx="392">
                  <c:v>11.119749509109001</c:v>
                </c:pt>
                <c:pt idx="393">
                  <c:v>11.629404694943</c:v>
                </c:pt>
                <c:pt idx="394">
                  <c:v>13.853354596765</c:v>
                </c:pt>
                <c:pt idx="395">
                  <c:v>15.84564305048</c:v>
                </c:pt>
                <c:pt idx="396">
                  <c:v>16.772288842906001</c:v>
                </c:pt>
                <c:pt idx="397">
                  <c:v>17.28194402874</c:v>
                </c:pt>
                <c:pt idx="398">
                  <c:v>17.884263793816999</c:v>
                </c:pt>
                <c:pt idx="399">
                  <c:v>21.776176122005001</c:v>
                </c:pt>
                <c:pt idx="400">
                  <c:v>24.695110368146999</c:v>
                </c:pt>
                <c:pt idx="401">
                  <c:v>25.899749898300001</c:v>
                </c:pt>
                <c:pt idx="402">
                  <c:v>26.733731111482999</c:v>
                </c:pt>
                <c:pt idx="403">
                  <c:v>26.085079056784998</c:v>
                </c:pt>
                <c:pt idx="404">
                  <c:v>25.853417608678999</c:v>
                </c:pt>
                <c:pt idx="405">
                  <c:v>27.660376903909</c:v>
                </c:pt>
                <c:pt idx="406">
                  <c:v>27.845706062394001</c:v>
                </c:pt>
                <c:pt idx="407">
                  <c:v>28.633354985956</c:v>
                </c:pt>
                <c:pt idx="408">
                  <c:v>29.467336199139002</c:v>
                </c:pt>
                <c:pt idx="409">
                  <c:v>33.312916237705998</c:v>
                </c:pt>
                <c:pt idx="410">
                  <c:v>36.046521325362001</c:v>
                </c:pt>
                <c:pt idx="411">
                  <c:v>37.529154593244002</c:v>
                </c:pt>
                <c:pt idx="412">
                  <c:v>43.228026216662002</c:v>
                </c:pt>
                <c:pt idx="413">
                  <c:v>51.660502927736999</c:v>
                </c:pt>
                <c:pt idx="414">
                  <c:v>58.610346370930003</c:v>
                </c:pt>
                <c:pt idx="415">
                  <c:v>66.718497054655998</c:v>
                </c:pt>
                <c:pt idx="416">
                  <c:v>75.845958110050006</c:v>
                </c:pt>
                <c:pt idx="417">
                  <c:v>81.266835995741005</c:v>
                </c:pt>
                <c:pt idx="418">
                  <c:v>85.761068089006002</c:v>
                </c:pt>
                <c:pt idx="419">
                  <c:v>94.888529144399996</c:v>
                </c:pt>
                <c:pt idx="420">
                  <c:v>107.768905659118</c:v>
                </c:pt>
                <c:pt idx="421">
                  <c:v>117.91567708618</c:v>
                </c:pt>
                <c:pt idx="422">
                  <c:v>118.425332272015</c:v>
                </c:pt>
                <c:pt idx="423">
                  <c:v>129.63774636036601</c:v>
                </c:pt>
                <c:pt idx="424">
                  <c:v>138.71887512613901</c:v>
                </c:pt>
                <c:pt idx="425">
                  <c:v>144.88106964577099</c:v>
                </c:pt>
                <c:pt idx="426">
                  <c:v>165.26727707913801</c:v>
                </c:pt>
                <c:pt idx="427">
                  <c:v>180.88125868151201</c:v>
                </c:pt>
                <c:pt idx="428">
                  <c:v>204.41806180912701</c:v>
                </c:pt>
                <c:pt idx="429">
                  <c:v>236.01668333084601</c:v>
                </c:pt>
                <c:pt idx="430">
                  <c:v>255.19825123406</c:v>
                </c:pt>
                <c:pt idx="431">
                  <c:v>262.24075925649601</c:v>
                </c:pt>
                <c:pt idx="432">
                  <c:v>263.90872168286199</c:v>
                </c:pt>
                <c:pt idx="433">
                  <c:v>273.40684105522701</c:v>
                </c:pt>
                <c:pt idx="434">
                  <c:v>293.65405161973001</c:v>
                </c:pt>
                <c:pt idx="435">
                  <c:v>305.65411463164401</c:v>
                </c:pt>
                <c:pt idx="436">
                  <c:v>310.70433420036397</c:v>
                </c:pt>
                <c:pt idx="437">
                  <c:v>329.88590210357802</c:v>
                </c:pt>
                <c:pt idx="438">
                  <c:v>339.56935063442802</c:v>
                </c:pt>
                <c:pt idx="439">
                  <c:v>347.12151384269799</c:v>
                </c:pt>
                <c:pt idx="440">
                  <c:v>360.27988409514398</c:v>
                </c:pt>
                <c:pt idx="441">
                  <c:v>382.148724796392</c:v>
                </c:pt>
                <c:pt idx="442">
                  <c:v>372.74327000327099</c:v>
                </c:pt>
                <c:pt idx="443">
                  <c:v>383.95568409162303</c:v>
                </c:pt>
                <c:pt idx="444">
                  <c:v>418.936562755696</c:v>
                </c:pt>
                <c:pt idx="445">
                  <c:v>437.237817156105</c:v>
                </c:pt>
                <c:pt idx="446">
                  <c:v>444.28032517854098</c:v>
                </c:pt>
                <c:pt idx="447">
                  <c:v>452.20314670378099</c:v>
                </c:pt>
                <c:pt idx="448">
                  <c:v>461.23794317993298</c:v>
                </c:pt>
                <c:pt idx="449">
                  <c:v>486.99869620937</c:v>
                </c:pt>
                <c:pt idx="450">
                  <c:v>539.30785119180496</c:v>
                </c:pt>
                <c:pt idx="451">
                  <c:v>527.40045275913405</c:v>
                </c:pt>
                <c:pt idx="452">
                  <c:v>527.21512360064901</c:v>
                </c:pt>
                <c:pt idx="453">
                  <c:v>536.80590755225501</c:v>
                </c:pt>
                <c:pt idx="454">
                  <c:v>544.91405823598097</c:v>
                </c:pt>
                <c:pt idx="455">
                  <c:v>537.91788250316597</c:v>
                </c:pt>
                <c:pt idx="456">
                  <c:v>551.817569389553</c:v>
                </c:pt>
                <c:pt idx="457">
                  <c:v>524.48151851299201</c:v>
                </c:pt>
                <c:pt idx="458">
                  <c:v>519.47763123389302</c:v>
                </c:pt>
                <c:pt idx="459">
                  <c:v>513.77875961047505</c:v>
                </c:pt>
                <c:pt idx="460">
                  <c:v>498.81343006279798</c:v>
                </c:pt>
                <c:pt idx="461">
                  <c:v>491.817254329984</c:v>
                </c:pt>
                <c:pt idx="462">
                  <c:v>484.58941714906302</c:v>
                </c:pt>
                <c:pt idx="463">
                  <c:v>465.12985550812101</c:v>
                </c:pt>
                <c:pt idx="464">
                  <c:v>449.330544747261</c:v>
                </c:pt>
                <c:pt idx="465">
                  <c:v>426.53505825358701</c:v>
                </c:pt>
                <c:pt idx="466">
                  <c:v>414.16433692470298</c:v>
                </c:pt>
                <c:pt idx="467">
                  <c:v>408.65079445977</c:v>
                </c:pt>
                <c:pt idx="468">
                  <c:v>391.55417958951398</c:v>
                </c:pt>
                <c:pt idx="469">
                  <c:v>379.55411657759998</c:v>
                </c:pt>
                <c:pt idx="470">
                  <c:v>361.66985278378201</c:v>
                </c:pt>
                <c:pt idx="471">
                  <c:v>337.808723628819</c:v>
                </c:pt>
                <c:pt idx="472">
                  <c:v>317.09819016810201</c:v>
                </c:pt>
                <c:pt idx="473">
                  <c:v>304.86646570808199</c:v>
                </c:pt>
                <c:pt idx="474">
                  <c:v>299.95524300822501</c:v>
                </c:pt>
                <c:pt idx="475">
                  <c:v>283.78527393039502</c:v>
                </c:pt>
                <c:pt idx="476">
                  <c:v>264.14038313096898</c:v>
                </c:pt>
                <c:pt idx="477">
                  <c:v>250.19436395496101</c:v>
                </c:pt>
                <c:pt idx="478">
                  <c:v>232.958752215841</c:v>
                </c:pt>
                <c:pt idx="479">
                  <c:v>198.20953499987399</c:v>
                </c:pt>
                <c:pt idx="480">
                  <c:v>181.25191699848301</c:v>
                </c:pt>
                <c:pt idx="481">
                  <c:v>176.20169742976199</c:v>
                </c:pt>
                <c:pt idx="482">
                  <c:v>169.52984772429599</c:v>
                </c:pt>
                <c:pt idx="483">
                  <c:v>158.08577218783799</c:v>
                </c:pt>
                <c:pt idx="484">
                  <c:v>150.62627355881</c:v>
                </c:pt>
                <c:pt idx="485">
                  <c:v>149.189972580551</c:v>
                </c:pt>
                <c:pt idx="486">
                  <c:v>165.96226142345699</c:v>
                </c:pt>
                <c:pt idx="487">
                  <c:v>165.63793539610799</c:v>
                </c:pt>
                <c:pt idx="488">
                  <c:v>165.776932264972</c:v>
                </c:pt>
                <c:pt idx="489">
                  <c:v>171.24414244028401</c:v>
                </c:pt>
                <c:pt idx="490">
                  <c:v>175.22871934771501</c:v>
                </c:pt>
                <c:pt idx="491">
                  <c:v>173.282763183621</c:v>
                </c:pt>
                <c:pt idx="492">
                  <c:v>169.946838330888</c:v>
                </c:pt>
                <c:pt idx="493">
                  <c:v>169.99317062050901</c:v>
                </c:pt>
                <c:pt idx="494">
                  <c:v>176.71135261559601</c:v>
                </c:pt>
                <c:pt idx="495">
                  <c:v>176.15536514014099</c:v>
                </c:pt>
                <c:pt idx="496">
                  <c:v>157.34445555389701</c:v>
                </c:pt>
                <c:pt idx="497">
                  <c:v>143.02777806091899</c:v>
                </c:pt>
                <c:pt idx="498">
                  <c:v>138.579878257275</c:v>
                </c:pt>
                <c:pt idx="499">
                  <c:v>134.50263677060201</c:v>
                </c:pt>
                <c:pt idx="500">
                  <c:v>135.290285694164</c:v>
                </c:pt>
                <c:pt idx="501">
                  <c:v>139.274862601595</c:v>
                </c:pt>
                <c:pt idx="502">
                  <c:v>141.77680624114399</c:v>
                </c:pt>
                <c:pt idx="503">
                  <c:v>156.88113265768399</c:v>
                </c:pt>
                <c:pt idx="504">
                  <c:v>177.03567864294499</c:v>
                </c:pt>
                <c:pt idx="505">
                  <c:v>201.22113382525799</c:v>
                </c:pt>
                <c:pt idx="506">
                  <c:v>234.20972403561601</c:v>
                </c:pt>
                <c:pt idx="507">
                  <c:v>266.68865906014003</c:v>
                </c:pt>
                <c:pt idx="508">
                  <c:v>287.213863362371</c:v>
                </c:pt>
                <c:pt idx="509">
                  <c:v>301.57687314497002</c:v>
                </c:pt>
                <c:pt idx="510">
                  <c:v>331.461199950702</c:v>
                </c:pt>
                <c:pt idx="511">
                  <c:v>364.681451609166</c:v>
                </c:pt>
                <c:pt idx="512">
                  <c:v>427.18371030828501</c:v>
                </c:pt>
                <c:pt idx="513">
                  <c:v>456.92904024515298</c:v>
                </c:pt>
                <c:pt idx="514">
                  <c:v>521.84057800457902</c:v>
                </c:pt>
                <c:pt idx="515">
                  <c:v>531.01437134959394</c:v>
                </c:pt>
                <c:pt idx="516">
                  <c:v>564.23462300805897</c:v>
                </c:pt>
                <c:pt idx="517">
                  <c:v>587.44710010832398</c:v>
                </c:pt>
                <c:pt idx="518">
                  <c:v>646.42810479622506</c:v>
                </c:pt>
                <c:pt idx="519">
                  <c:v>662.22741555708501</c:v>
                </c:pt>
                <c:pt idx="520">
                  <c:v>700.17356075692101</c:v>
                </c:pt>
                <c:pt idx="521">
                  <c:v>683.63293336212098</c:v>
                </c:pt>
                <c:pt idx="522">
                  <c:v>720.23544216293897</c:v>
                </c:pt>
                <c:pt idx="523">
                  <c:v>698.22760459282699</c:v>
                </c:pt>
                <c:pt idx="524">
                  <c:v>720.83776192801599</c:v>
                </c:pt>
                <c:pt idx="525">
                  <c:v>706.56741672465898</c:v>
                </c:pt>
                <c:pt idx="526">
                  <c:v>699.154250385252</c:v>
                </c:pt>
                <c:pt idx="527">
                  <c:v>683.67926565174196</c:v>
                </c:pt>
                <c:pt idx="528">
                  <c:v>684.28158541681898</c:v>
                </c:pt>
                <c:pt idx="529">
                  <c:v>652.45130244699305</c:v>
                </c:pt>
                <c:pt idx="530">
                  <c:v>649.71769735933697</c:v>
                </c:pt>
                <c:pt idx="531">
                  <c:v>636.28133336916301</c:v>
                </c:pt>
                <c:pt idx="532">
                  <c:v>628.86816702975705</c:v>
                </c:pt>
                <c:pt idx="533">
                  <c:v>602.04177133902999</c:v>
                </c:pt>
                <c:pt idx="534">
                  <c:v>583.36985862165102</c:v>
                </c:pt>
                <c:pt idx="535">
                  <c:v>553.67086097440495</c:v>
                </c:pt>
                <c:pt idx="536">
                  <c:v>545.37738113219405</c:v>
                </c:pt>
                <c:pt idx="537">
                  <c:v>535.69393260134404</c:v>
                </c:pt>
                <c:pt idx="538">
                  <c:v>521.46991968760904</c:v>
                </c:pt>
                <c:pt idx="539">
                  <c:v>484.35775570095598</c:v>
                </c:pt>
                <c:pt idx="540">
                  <c:v>459.47731617432402</c:v>
                </c:pt>
                <c:pt idx="541">
                  <c:v>435.33819328163202</c:v>
                </c:pt>
                <c:pt idx="542">
                  <c:v>419.95587312736399</c:v>
                </c:pt>
                <c:pt idx="543">
                  <c:v>408.18747156355698</c:v>
                </c:pt>
                <c:pt idx="544">
                  <c:v>403.46157802218499</c:v>
                </c:pt>
                <c:pt idx="545">
                  <c:v>386.55029231041499</c:v>
                </c:pt>
                <c:pt idx="546">
                  <c:v>373.43825434758998</c:v>
                </c:pt>
                <c:pt idx="547">
                  <c:v>361.11386530832698</c:v>
                </c:pt>
                <c:pt idx="548">
                  <c:v>347.30684300118298</c:v>
                </c:pt>
                <c:pt idx="549">
                  <c:v>341.05198390230902</c:v>
                </c:pt>
                <c:pt idx="550">
                  <c:v>337.90138820806101</c:v>
                </c:pt>
                <c:pt idx="551">
                  <c:v>318.673488015225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36427245266E-2"/>
          <c:y val="3.2974164897054098E-2"/>
          <c:w val="0.92647190119621747"/>
          <c:h val="0.92040624704252283"/>
        </c:manualLayout>
      </c:layout>
      <c:lineChart>
        <c:grouping val="standard"/>
        <c:varyColors val="0"/>
        <c:ser>
          <c:idx val="3"/>
          <c:order val="0"/>
          <c:tx>
            <c:v>pocet_pripadu_7dni_100_000_65_zmena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53</c:f>
              <c:numCache>
                <c:formatCode>m/d/yyyy</c:formatCode>
                <c:ptCount val="55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</c:numCache>
            </c:numRef>
          </c:cat>
          <c:val>
            <c:numRef>
              <c:f>Sheet1!$B$2:$B$553</c:f>
              <c:numCache>
                <c:formatCode>0%</c:formatCode>
                <c:ptCount val="552"/>
                <c:pt idx="0">
                  <c:v>-6.6201999999999997E-2</c:v>
                </c:pt>
                <c:pt idx="1">
                  <c:v>-2.0476999999999999E-2</c:v>
                </c:pt>
                <c:pt idx="2">
                  <c:v>-6.0975000000000001E-2</c:v>
                </c:pt>
                <c:pt idx="3">
                  <c:v>8.9402999999999996E-2</c:v>
                </c:pt>
                <c:pt idx="4">
                  <c:v>0.219081</c:v>
                </c:pt>
                <c:pt idx="5">
                  <c:v>0.26989600000000002</c:v>
                </c:pt>
                <c:pt idx="6">
                  <c:v>0.27096700000000001</c:v>
                </c:pt>
                <c:pt idx="7">
                  <c:v>0.37878699999999998</c:v>
                </c:pt>
                <c:pt idx="8">
                  <c:v>0.46838999999999997</c:v>
                </c:pt>
                <c:pt idx="9">
                  <c:v>0.462337</c:v>
                </c:pt>
                <c:pt idx="10">
                  <c:v>0.59689899999999996</c:v>
                </c:pt>
                <c:pt idx="11">
                  <c:v>0.960422</c:v>
                </c:pt>
                <c:pt idx="12">
                  <c:v>0.84705799999999998</c:v>
                </c:pt>
                <c:pt idx="13">
                  <c:v>0.62925799999999998</c:v>
                </c:pt>
                <c:pt idx="14">
                  <c:v>0.49912699999999999</c:v>
                </c:pt>
                <c:pt idx="15">
                  <c:v>0.493589</c:v>
                </c:pt>
                <c:pt idx="16">
                  <c:v>0.57122300000000004</c:v>
                </c:pt>
                <c:pt idx="17">
                  <c:v>0.42571700000000001</c:v>
                </c:pt>
                <c:pt idx="18">
                  <c:v>0.35286899999999999</c:v>
                </c:pt>
                <c:pt idx="19">
                  <c:v>0.296211</c:v>
                </c:pt>
                <c:pt idx="20">
                  <c:v>0.22199099999999999</c:v>
                </c:pt>
                <c:pt idx="21">
                  <c:v>0.204761</c:v>
                </c:pt>
                <c:pt idx="22">
                  <c:v>8.5476999999999997E-2</c:v>
                </c:pt>
                <c:pt idx="23">
                  <c:v>7.2997999999999993E-2</c:v>
                </c:pt>
                <c:pt idx="24">
                  <c:v>0.16886100000000001</c:v>
                </c:pt>
                <c:pt idx="25">
                  <c:v>0.28630699999999998</c:v>
                </c:pt>
                <c:pt idx="26">
                  <c:v>0.248417</c:v>
                </c:pt>
                <c:pt idx="27">
                  <c:v>0.14053599999999999</c:v>
                </c:pt>
                <c:pt idx="28">
                  <c:v>8.9391999999999999E-2</c:v>
                </c:pt>
                <c:pt idx="29">
                  <c:v>8.7803999999999993E-2</c:v>
                </c:pt>
                <c:pt idx="30">
                  <c:v>0.15079799999999999</c:v>
                </c:pt>
                <c:pt idx="31">
                  <c:v>0.25191200000000002</c:v>
                </c:pt>
                <c:pt idx="32">
                  <c:v>0.38447700000000001</c:v>
                </c:pt>
                <c:pt idx="33">
                  <c:v>0.40285700000000002</c:v>
                </c:pt>
                <c:pt idx="34">
                  <c:v>0.51469799999999999</c:v>
                </c:pt>
                <c:pt idx="35">
                  <c:v>0.56888000000000005</c:v>
                </c:pt>
                <c:pt idx="36">
                  <c:v>0.53994699999999995</c:v>
                </c:pt>
                <c:pt idx="37">
                  <c:v>0.53161899999999995</c:v>
                </c:pt>
                <c:pt idx="38">
                  <c:v>0.73893900000000001</c:v>
                </c:pt>
                <c:pt idx="39">
                  <c:v>0.77209300000000003</c:v>
                </c:pt>
                <c:pt idx="40">
                  <c:v>0.59181600000000001</c:v>
                </c:pt>
                <c:pt idx="41">
                  <c:v>0.442139</c:v>
                </c:pt>
                <c:pt idx="42">
                  <c:v>0.41279199999999999</c:v>
                </c:pt>
                <c:pt idx="43">
                  <c:v>0.41925600000000002</c:v>
                </c:pt>
                <c:pt idx="44">
                  <c:v>0.34510999999999997</c:v>
                </c:pt>
                <c:pt idx="45">
                  <c:v>0.38998699999999997</c:v>
                </c:pt>
                <c:pt idx="46">
                  <c:v>0.485929</c:v>
                </c:pt>
                <c:pt idx="47">
                  <c:v>0.41997800000000002</c:v>
                </c:pt>
                <c:pt idx="48">
                  <c:v>0.36711500000000002</c:v>
                </c:pt>
                <c:pt idx="49">
                  <c:v>0.31157400000000002</c:v>
                </c:pt>
                <c:pt idx="50">
                  <c:v>0.328347</c:v>
                </c:pt>
                <c:pt idx="51">
                  <c:v>0.30087399999999997</c:v>
                </c:pt>
                <c:pt idx="52">
                  <c:v>0.37829099999999999</c:v>
                </c:pt>
                <c:pt idx="53">
                  <c:v>0.41723100000000002</c:v>
                </c:pt>
                <c:pt idx="54">
                  <c:v>0.33987099999999998</c:v>
                </c:pt>
                <c:pt idx="55">
                  <c:v>0.25444299999999997</c:v>
                </c:pt>
                <c:pt idx="56">
                  <c:v>0.21303800000000001</c:v>
                </c:pt>
                <c:pt idx="57">
                  <c:v>0.13475000000000001</c:v>
                </c:pt>
                <c:pt idx="58">
                  <c:v>5.9677000000000001E-2</c:v>
                </c:pt>
                <c:pt idx="59">
                  <c:v>4.5605E-2</c:v>
                </c:pt>
                <c:pt idx="60">
                  <c:v>5.74E-2</c:v>
                </c:pt>
                <c:pt idx="61">
                  <c:v>-1.8991000000000001E-2</c:v>
                </c:pt>
                <c:pt idx="62">
                  <c:v>-9.1722999999999999E-2</c:v>
                </c:pt>
                <c:pt idx="63">
                  <c:v>-0.13086</c:v>
                </c:pt>
                <c:pt idx="64">
                  <c:v>-9.2710000000000001E-2</c:v>
                </c:pt>
                <c:pt idx="65">
                  <c:v>-8.8992000000000002E-2</c:v>
                </c:pt>
                <c:pt idx="66">
                  <c:v>-7.4278999999999998E-2</c:v>
                </c:pt>
                <c:pt idx="67">
                  <c:v>-5.9200000000000003E-2</c:v>
                </c:pt>
                <c:pt idx="68">
                  <c:v>-0.12379800000000001</c:v>
                </c:pt>
                <c:pt idx="69">
                  <c:v>-0.184451</c:v>
                </c:pt>
                <c:pt idx="70">
                  <c:v>-0.22226299999999999</c:v>
                </c:pt>
                <c:pt idx="71">
                  <c:v>-0.28662799999999999</c:v>
                </c:pt>
                <c:pt idx="72">
                  <c:v>-0.34035599999999999</c:v>
                </c:pt>
                <c:pt idx="73">
                  <c:v>-0.34116200000000002</c:v>
                </c:pt>
                <c:pt idx="74">
                  <c:v>-0.32474700000000001</c:v>
                </c:pt>
                <c:pt idx="75">
                  <c:v>-0.35150300000000001</c:v>
                </c:pt>
                <c:pt idx="76">
                  <c:v>-0.34330899999999998</c:v>
                </c:pt>
                <c:pt idx="77">
                  <c:v>-0.39977699999999999</c:v>
                </c:pt>
                <c:pt idx="78">
                  <c:v>-0.418431</c:v>
                </c:pt>
                <c:pt idx="79">
                  <c:v>-0.41601700000000003</c:v>
                </c:pt>
                <c:pt idx="80">
                  <c:v>-0.393372</c:v>
                </c:pt>
                <c:pt idx="81">
                  <c:v>-0.35105700000000001</c:v>
                </c:pt>
                <c:pt idx="82">
                  <c:v>-0.38980599999999999</c:v>
                </c:pt>
                <c:pt idx="83">
                  <c:v>-0.39338499999999998</c:v>
                </c:pt>
                <c:pt idx="84">
                  <c:v>-0.31782700000000003</c:v>
                </c:pt>
                <c:pt idx="85">
                  <c:v>-0.28327000000000002</c:v>
                </c:pt>
                <c:pt idx="86">
                  <c:v>-0.27169599999999999</c:v>
                </c:pt>
                <c:pt idx="87">
                  <c:v>-0.20682700000000001</c:v>
                </c:pt>
                <c:pt idx="88">
                  <c:v>-0.16303000000000001</c:v>
                </c:pt>
                <c:pt idx="89">
                  <c:v>-0.24442900000000001</c:v>
                </c:pt>
                <c:pt idx="90">
                  <c:v>-0.26024999999999998</c:v>
                </c:pt>
                <c:pt idx="91">
                  <c:v>-0.31084200000000001</c:v>
                </c:pt>
                <c:pt idx="92">
                  <c:v>-0.30538300000000002</c:v>
                </c:pt>
                <c:pt idx="93">
                  <c:v>-0.28250900000000001</c:v>
                </c:pt>
                <c:pt idx="94">
                  <c:v>-0.211067</c:v>
                </c:pt>
                <c:pt idx="95">
                  <c:v>-0.13184599999999999</c:v>
                </c:pt>
                <c:pt idx="96">
                  <c:v>-0.20258200000000001</c:v>
                </c:pt>
                <c:pt idx="97">
                  <c:v>-0.18734400000000001</c:v>
                </c:pt>
                <c:pt idx="98">
                  <c:v>-0.12907399999999999</c:v>
                </c:pt>
                <c:pt idx="99">
                  <c:v>-6.7790000000000003E-2</c:v>
                </c:pt>
                <c:pt idx="100">
                  <c:v>-3.0823E-2</c:v>
                </c:pt>
                <c:pt idx="101">
                  <c:v>3.2077000000000001E-2</c:v>
                </c:pt>
                <c:pt idx="102">
                  <c:v>7.6102000000000003E-2</c:v>
                </c:pt>
                <c:pt idx="103">
                  <c:v>-6.6410000000000002E-3</c:v>
                </c:pt>
                <c:pt idx="104">
                  <c:v>-1.9817000000000001E-2</c:v>
                </c:pt>
                <c:pt idx="105">
                  <c:v>-3.1071000000000001E-2</c:v>
                </c:pt>
                <c:pt idx="106">
                  <c:v>-1.8383E-2</c:v>
                </c:pt>
                <c:pt idx="107">
                  <c:v>-2.0971E-2</c:v>
                </c:pt>
                <c:pt idx="108">
                  <c:v>7.3252999999999999E-2</c:v>
                </c:pt>
                <c:pt idx="109">
                  <c:v>0.14867900000000001</c:v>
                </c:pt>
                <c:pt idx="110">
                  <c:v>4.9368000000000002E-2</c:v>
                </c:pt>
                <c:pt idx="111">
                  <c:v>5.0608E-2</c:v>
                </c:pt>
                <c:pt idx="112">
                  <c:v>8.0410999999999996E-2</c:v>
                </c:pt>
                <c:pt idx="113">
                  <c:v>0.17566799999999999</c:v>
                </c:pt>
                <c:pt idx="114">
                  <c:v>5.7188999999999997E-2</c:v>
                </c:pt>
                <c:pt idx="115">
                  <c:v>-1.6147000000000002E-2</c:v>
                </c:pt>
                <c:pt idx="116">
                  <c:v>-2.6870999999999999E-2</c:v>
                </c:pt>
                <c:pt idx="117">
                  <c:v>-0.122778</c:v>
                </c:pt>
                <c:pt idx="118">
                  <c:v>-0.13825399999999999</c:v>
                </c:pt>
                <c:pt idx="119">
                  <c:v>-0.13231499999999999</c:v>
                </c:pt>
                <c:pt idx="120">
                  <c:v>5.7200000000000003E-3</c:v>
                </c:pt>
                <c:pt idx="121">
                  <c:v>0.259189</c:v>
                </c:pt>
                <c:pt idx="122">
                  <c:v>0.40148200000000001</c:v>
                </c:pt>
                <c:pt idx="123">
                  <c:v>0.47523599999999999</c:v>
                </c:pt>
                <c:pt idx="124">
                  <c:v>0.32432100000000003</c:v>
                </c:pt>
                <c:pt idx="125">
                  <c:v>0.23130500000000001</c:v>
                </c:pt>
                <c:pt idx="126">
                  <c:v>0.16258500000000001</c:v>
                </c:pt>
                <c:pt idx="127">
                  <c:v>0.17168600000000001</c:v>
                </c:pt>
                <c:pt idx="128">
                  <c:v>0.2165</c:v>
                </c:pt>
                <c:pt idx="129">
                  <c:v>0.31446600000000002</c:v>
                </c:pt>
                <c:pt idx="130">
                  <c:v>0.30323499999999998</c:v>
                </c:pt>
                <c:pt idx="131">
                  <c:v>0.127885</c:v>
                </c:pt>
                <c:pt idx="132">
                  <c:v>2.96E-3</c:v>
                </c:pt>
                <c:pt idx="133">
                  <c:v>-0.100421</c:v>
                </c:pt>
                <c:pt idx="134">
                  <c:v>-0.17483599999999999</c:v>
                </c:pt>
                <c:pt idx="135">
                  <c:v>-0.27634500000000001</c:v>
                </c:pt>
                <c:pt idx="136">
                  <c:v>-0.36144900000000002</c:v>
                </c:pt>
                <c:pt idx="137">
                  <c:v>-0.393067</c:v>
                </c:pt>
                <c:pt idx="138">
                  <c:v>-0.432174</c:v>
                </c:pt>
                <c:pt idx="139">
                  <c:v>-0.44870300000000002</c:v>
                </c:pt>
                <c:pt idx="140">
                  <c:v>-0.43751400000000001</c:v>
                </c:pt>
                <c:pt idx="141">
                  <c:v>-0.410777</c:v>
                </c:pt>
                <c:pt idx="142">
                  <c:v>-0.37458900000000001</c:v>
                </c:pt>
                <c:pt idx="143">
                  <c:v>-0.31114199999999997</c:v>
                </c:pt>
                <c:pt idx="144">
                  <c:v>-0.25867200000000001</c:v>
                </c:pt>
                <c:pt idx="145">
                  <c:v>-0.299313</c:v>
                </c:pt>
                <c:pt idx="146">
                  <c:v>-0.291966</c:v>
                </c:pt>
                <c:pt idx="147">
                  <c:v>-0.274196</c:v>
                </c:pt>
                <c:pt idx="148">
                  <c:v>-0.23107</c:v>
                </c:pt>
                <c:pt idx="149">
                  <c:v>-0.229102</c:v>
                </c:pt>
                <c:pt idx="150">
                  <c:v>-0.15855</c:v>
                </c:pt>
                <c:pt idx="151">
                  <c:v>-0.11694400000000001</c:v>
                </c:pt>
                <c:pt idx="152">
                  <c:v>-0.180474</c:v>
                </c:pt>
                <c:pt idx="153">
                  <c:v>-0.189998</c:v>
                </c:pt>
                <c:pt idx="154">
                  <c:v>-0.17437800000000001</c:v>
                </c:pt>
                <c:pt idx="155">
                  <c:v>-0.16186500000000001</c:v>
                </c:pt>
                <c:pt idx="156">
                  <c:v>-0.16224</c:v>
                </c:pt>
                <c:pt idx="157">
                  <c:v>-7.3464000000000002E-2</c:v>
                </c:pt>
                <c:pt idx="158">
                  <c:v>-2.9926000000000001E-2</c:v>
                </c:pt>
                <c:pt idx="159">
                  <c:v>-0.11466</c:v>
                </c:pt>
                <c:pt idx="160">
                  <c:v>-0.142764</c:v>
                </c:pt>
                <c:pt idx="161">
                  <c:v>-0.142119</c:v>
                </c:pt>
                <c:pt idx="162">
                  <c:v>-0.13633799999999999</c:v>
                </c:pt>
                <c:pt idx="163">
                  <c:v>-0.137599</c:v>
                </c:pt>
                <c:pt idx="164">
                  <c:v>-9.1566999999999996E-2</c:v>
                </c:pt>
                <c:pt idx="165">
                  <c:v>-7.3524000000000006E-2</c:v>
                </c:pt>
                <c:pt idx="166">
                  <c:v>-0.140705</c:v>
                </c:pt>
                <c:pt idx="167">
                  <c:v>-0.145313</c:v>
                </c:pt>
                <c:pt idx="168">
                  <c:v>-0.1085</c:v>
                </c:pt>
                <c:pt idx="169">
                  <c:v>-9.5933000000000004E-2</c:v>
                </c:pt>
                <c:pt idx="170">
                  <c:v>-7.3182999999999998E-2</c:v>
                </c:pt>
                <c:pt idx="171">
                  <c:v>4.5400999999999997E-2</c:v>
                </c:pt>
                <c:pt idx="172">
                  <c:v>0.11093699999999999</c:v>
                </c:pt>
                <c:pt idx="173">
                  <c:v>2.1144E-2</c:v>
                </c:pt>
                <c:pt idx="174">
                  <c:v>-1.1617000000000001E-2</c:v>
                </c:pt>
                <c:pt idx="175">
                  <c:v>2.4365000000000001E-2</c:v>
                </c:pt>
                <c:pt idx="176">
                  <c:v>4.8578000000000003E-2</c:v>
                </c:pt>
                <c:pt idx="177">
                  <c:v>5.4567999999999998E-2</c:v>
                </c:pt>
                <c:pt idx="178">
                  <c:v>0.13299800000000001</c:v>
                </c:pt>
                <c:pt idx="179">
                  <c:v>0.16059399999999999</c:v>
                </c:pt>
                <c:pt idx="180">
                  <c:v>4.3173000000000003E-2</c:v>
                </c:pt>
                <c:pt idx="181">
                  <c:v>-9.5680000000000001E-3</c:v>
                </c:pt>
                <c:pt idx="182">
                  <c:v>1.3359999999999999E-3</c:v>
                </c:pt>
                <c:pt idx="183">
                  <c:v>-2.3084E-2</c:v>
                </c:pt>
                <c:pt idx="184">
                  <c:v>-5.6328000000000003E-2</c:v>
                </c:pt>
                <c:pt idx="185">
                  <c:v>-2.308E-2</c:v>
                </c:pt>
                <c:pt idx="186">
                  <c:v>2.189E-2</c:v>
                </c:pt>
                <c:pt idx="187">
                  <c:v>-7.6299000000000006E-2</c:v>
                </c:pt>
                <c:pt idx="188">
                  <c:v>-0.148592</c:v>
                </c:pt>
                <c:pt idx="189">
                  <c:v>-0.18149000000000001</c:v>
                </c:pt>
                <c:pt idx="190">
                  <c:v>-0.199272</c:v>
                </c:pt>
                <c:pt idx="191">
                  <c:v>-0.22215099999999999</c:v>
                </c:pt>
                <c:pt idx="192">
                  <c:v>-0.148923</c:v>
                </c:pt>
                <c:pt idx="193">
                  <c:v>-0.14666799999999999</c:v>
                </c:pt>
                <c:pt idx="194">
                  <c:v>-0.20871799999999999</c:v>
                </c:pt>
                <c:pt idx="195">
                  <c:v>-0.21037900000000001</c:v>
                </c:pt>
                <c:pt idx="196">
                  <c:v>-0.18330099999999999</c:v>
                </c:pt>
                <c:pt idx="197">
                  <c:v>-0.16741900000000001</c:v>
                </c:pt>
                <c:pt idx="198">
                  <c:v>-0.18256500000000001</c:v>
                </c:pt>
                <c:pt idx="199">
                  <c:v>-0.19040299999999999</c:v>
                </c:pt>
                <c:pt idx="200">
                  <c:v>-0.14929300000000001</c:v>
                </c:pt>
                <c:pt idx="201">
                  <c:v>-0.223749</c:v>
                </c:pt>
                <c:pt idx="202">
                  <c:v>-0.28556100000000001</c:v>
                </c:pt>
                <c:pt idx="203">
                  <c:v>-0.30788300000000002</c:v>
                </c:pt>
                <c:pt idx="204">
                  <c:v>-0.32143699999999997</c:v>
                </c:pt>
                <c:pt idx="205">
                  <c:v>-0.33493600000000001</c:v>
                </c:pt>
                <c:pt idx="206">
                  <c:v>-0.27230900000000002</c:v>
                </c:pt>
                <c:pt idx="207">
                  <c:v>-0.25322299999999998</c:v>
                </c:pt>
                <c:pt idx="208">
                  <c:v>-0.30902299999999999</c:v>
                </c:pt>
                <c:pt idx="209">
                  <c:v>-0.31730399999999997</c:v>
                </c:pt>
                <c:pt idx="210">
                  <c:v>-0.300682</c:v>
                </c:pt>
                <c:pt idx="211">
                  <c:v>-0.27787400000000001</c:v>
                </c:pt>
                <c:pt idx="212">
                  <c:v>-0.27834199999999998</c:v>
                </c:pt>
                <c:pt idx="213">
                  <c:v>-0.28534599999999999</c:v>
                </c:pt>
                <c:pt idx="214">
                  <c:v>-0.27176400000000001</c:v>
                </c:pt>
                <c:pt idx="215">
                  <c:v>-0.32827899999999999</c:v>
                </c:pt>
                <c:pt idx="216">
                  <c:v>-0.42862</c:v>
                </c:pt>
                <c:pt idx="217">
                  <c:v>-0.45664300000000002</c:v>
                </c:pt>
                <c:pt idx="218">
                  <c:v>-0.46057999999999999</c:v>
                </c:pt>
                <c:pt idx="219">
                  <c:v>-0.43450800000000001</c:v>
                </c:pt>
                <c:pt idx="220">
                  <c:v>-0.33908700000000003</c:v>
                </c:pt>
                <c:pt idx="221">
                  <c:v>-0.30741800000000002</c:v>
                </c:pt>
                <c:pt idx="222">
                  <c:v>-0.32377800000000001</c:v>
                </c:pt>
                <c:pt idx="223">
                  <c:v>-0.23963599999999999</c:v>
                </c:pt>
                <c:pt idx="224">
                  <c:v>-0.218863</c:v>
                </c:pt>
                <c:pt idx="225">
                  <c:v>-0.234154</c:v>
                </c:pt>
                <c:pt idx="226">
                  <c:v>-0.25506400000000001</c:v>
                </c:pt>
                <c:pt idx="227">
                  <c:v>-0.26885799999999999</c:v>
                </c:pt>
                <c:pt idx="228">
                  <c:v>-0.26724700000000001</c:v>
                </c:pt>
                <c:pt idx="229">
                  <c:v>-0.31874799999999998</c:v>
                </c:pt>
                <c:pt idx="230">
                  <c:v>-0.393177</c:v>
                </c:pt>
                <c:pt idx="231">
                  <c:v>-0.40522799999999998</c:v>
                </c:pt>
                <c:pt idx="232">
                  <c:v>-0.37445800000000001</c:v>
                </c:pt>
                <c:pt idx="233">
                  <c:v>-0.350497</c:v>
                </c:pt>
                <c:pt idx="234">
                  <c:v>-0.31532700000000002</c:v>
                </c:pt>
                <c:pt idx="235">
                  <c:v>-0.29684700000000003</c:v>
                </c:pt>
                <c:pt idx="236">
                  <c:v>-0.35400799999999999</c:v>
                </c:pt>
                <c:pt idx="237">
                  <c:v>-0.36525099999999999</c:v>
                </c:pt>
                <c:pt idx="238">
                  <c:v>-0.34356100000000001</c:v>
                </c:pt>
                <c:pt idx="239">
                  <c:v>-0.33174300000000001</c:v>
                </c:pt>
                <c:pt idx="240">
                  <c:v>-0.33488299999999999</c:v>
                </c:pt>
                <c:pt idx="241">
                  <c:v>-0.2581</c:v>
                </c:pt>
                <c:pt idx="242">
                  <c:v>-0.2155</c:v>
                </c:pt>
                <c:pt idx="243">
                  <c:v>-0.29245199999999999</c:v>
                </c:pt>
                <c:pt idx="244">
                  <c:v>-0.297155</c:v>
                </c:pt>
                <c:pt idx="245">
                  <c:v>-0.28253</c:v>
                </c:pt>
                <c:pt idx="246">
                  <c:v>-0.28297899999999998</c:v>
                </c:pt>
                <c:pt idx="247">
                  <c:v>-0.28676699999999999</c:v>
                </c:pt>
                <c:pt idx="248">
                  <c:v>-0.28958400000000001</c:v>
                </c:pt>
                <c:pt idx="249">
                  <c:v>-0.30434699999999998</c:v>
                </c:pt>
                <c:pt idx="250">
                  <c:v>-0.37394300000000003</c:v>
                </c:pt>
                <c:pt idx="251">
                  <c:v>-0.39533800000000002</c:v>
                </c:pt>
                <c:pt idx="252">
                  <c:v>-0.41723399999999999</c:v>
                </c:pt>
                <c:pt idx="253">
                  <c:v>-0.44552900000000001</c:v>
                </c:pt>
                <c:pt idx="254">
                  <c:v>-0.44572299999999998</c:v>
                </c:pt>
                <c:pt idx="255">
                  <c:v>-0.40260499999999999</c:v>
                </c:pt>
                <c:pt idx="256">
                  <c:v>-0.369477</c:v>
                </c:pt>
                <c:pt idx="257">
                  <c:v>-0.43464799999999998</c:v>
                </c:pt>
                <c:pt idx="258">
                  <c:v>-0.45388099999999998</c:v>
                </c:pt>
                <c:pt idx="259">
                  <c:v>-0.41428500000000001</c:v>
                </c:pt>
                <c:pt idx="260">
                  <c:v>-0.40194400000000002</c:v>
                </c:pt>
                <c:pt idx="261">
                  <c:v>-0.41032299999999999</c:v>
                </c:pt>
                <c:pt idx="262">
                  <c:v>-0.40174199999999999</c:v>
                </c:pt>
                <c:pt idx="263">
                  <c:v>-0.40267700000000001</c:v>
                </c:pt>
                <c:pt idx="264">
                  <c:v>-0.44937300000000002</c:v>
                </c:pt>
                <c:pt idx="265">
                  <c:v>-0.46209699999999998</c:v>
                </c:pt>
                <c:pt idx="266">
                  <c:v>-0.47531499999999999</c:v>
                </c:pt>
                <c:pt idx="267">
                  <c:v>-0.48853999999999997</c:v>
                </c:pt>
                <c:pt idx="268">
                  <c:v>-0.49199900000000002</c:v>
                </c:pt>
                <c:pt idx="269">
                  <c:v>-0.43846099999999999</c:v>
                </c:pt>
                <c:pt idx="270">
                  <c:v>-0.41333300000000001</c:v>
                </c:pt>
                <c:pt idx="271">
                  <c:v>-0.46081499999999997</c:v>
                </c:pt>
                <c:pt idx="272">
                  <c:v>-0.45226100000000002</c:v>
                </c:pt>
                <c:pt idx="273">
                  <c:v>-0.43798399999999998</c:v>
                </c:pt>
                <c:pt idx="274">
                  <c:v>-0.44067699999999999</c:v>
                </c:pt>
                <c:pt idx="275">
                  <c:v>-0.41043000000000002</c:v>
                </c:pt>
                <c:pt idx="276">
                  <c:v>-0.39843699999999999</c:v>
                </c:pt>
                <c:pt idx="277">
                  <c:v>-0.39285700000000001</c:v>
                </c:pt>
                <c:pt idx="278">
                  <c:v>-0.45939000000000002</c:v>
                </c:pt>
                <c:pt idx="279">
                  <c:v>-0.48238399999999998</c:v>
                </c:pt>
                <c:pt idx="280">
                  <c:v>-0.46749200000000002</c:v>
                </c:pt>
                <c:pt idx="281">
                  <c:v>-0.48051899999999997</c:v>
                </c:pt>
                <c:pt idx="282">
                  <c:v>-0.52233600000000002</c:v>
                </c:pt>
                <c:pt idx="283">
                  <c:v>-0.51249999999999996</c:v>
                </c:pt>
                <c:pt idx="284">
                  <c:v>-0.51555499999999999</c:v>
                </c:pt>
                <c:pt idx="285">
                  <c:v>-0.53112000000000004</c:v>
                </c:pt>
                <c:pt idx="286">
                  <c:v>-0.52803699999999998</c:v>
                </c:pt>
                <c:pt idx="287">
                  <c:v>-0.507772</c:v>
                </c:pt>
                <c:pt idx="288">
                  <c:v>-0.48087400000000002</c:v>
                </c:pt>
                <c:pt idx="289">
                  <c:v>-0.45270199999999999</c:v>
                </c:pt>
                <c:pt idx="290">
                  <c:v>-0.24576200000000001</c:v>
                </c:pt>
                <c:pt idx="291">
                  <c:v>-0.213675</c:v>
                </c:pt>
                <c:pt idx="292">
                  <c:v>-0.31782899999999997</c:v>
                </c:pt>
                <c:pt idx="293">
                  <c:v>-0.28813499999999997</c:v>
                </c:pt>
                <c:pt idx="294">
                  <c:v>-0.28448200000000001</c:v>
                </c:pt>
                <c:pt idx="295">
                  <c:v>-0.336538</c:v>
                </c:pt>
                <c:pt idx="296">
                  <c:v>-0.35714200000000002</c:v>
                </c:pt>
                <c:pt idx="297">
                  <c:v>-0.47311799999999998</c:v>
                </c:pt>
                <c:pt idx="298">
                  <c:v>-0.48958299999999999</c:v>
                </c:pt>
                <c:pt idx="299">
                  <c:v>-0.54999900000000002</c:v>
                </c:pt>
                <c:pt idx="300">
                  <c:v>-0.57999900000000004</c:v>
                </c:pt>
                <c:pt idx="301">
                  <c:v>-0.64444400000000002</c:v>
                </c:pt>
                <c:pt idx="302">
                  <c:v>-0.61111099999999996</c:v>
                </c:pt>
                <c:pt idx="303">
                  <c:v>-0.53030299999999997</c:v>
                </c:pt>
                <c:pt idx="304">
                  <c:v>-0.39622600000000002</c:v>
                </c:pt>
                <c:pt idx="305">
                  <c:v>-0.32652999999999999</c:v>
                </c:pt>
                <c:pt idx="306">
                  <c:v>-0.277777</c:v>
                </c:pt>
                <c:pt idx="307">
                  <c:v>-0.35416599999999998</c:v>
                </c:pt>
                <c:pt idx="308">
                  <c:v>-0.28571400000000002</c:v>
                </c:pt>
                <c:pt idx="309">
                  <c:v>0</c:v>
                </c:pt>
                <c:pt idx="310">
                  <c:v>2.8570999999999999E-2</c:v>
                </c:pt>
                <c:pt idx="311">
                  <c:v>5.4053999999999998E-2</c:v>
                </c:pt>
                <c:pt idx="312">
                  <c:v>-2.5641000000000001E-2</c:v>
                </c:pt>
                <c:pt idx="313">
                  <c:v>-0.124999</c:v>
                </c:pt>
                <c:pt idx="314">
                  <c:v>0.80645100000000003</c:v>
                </c:pt>
                <c:pt idx="315">
                  <c:v>0.83783700000000005</c:v>
                </c:pt>
                <c:pt idx="316">
                  <c:v>0.61904700000000001</c:v>
                </c:pt>
                <c:pt idx="317">
                  <c:v>0.534883</c:v>
                </c:pt>
                <c:pt idx="318">
                  <c:v>0.60465100000000005</c:v>
                </c:pt>
                <c:pt idx="319">
                  <c:v>0.78048700000000004</c:v>
                </c:pt>
                <c:pt idx="320">
                  <c:v>0.29824499999999998</c:v>
                </c:pt>
                <c:pt idx="321">
                  <c:v>-0.117647</c:v>
                </c:pt>
                <c:pt idx="322">
                  <c:v>-0.3</c:v>
                </c:pt>
                <c:pt idx="323">
                  <c:v>-0.27027000000000001</c:v>
                </c:pt>
                <c:pt idx="324">
                  <c:v>-0.28947299999999998</c:v>
                </c:pt>
                <c:pt idx="325">
                  <c:v>-0.29870099999999999</c:v>
                </c:pt>
                <c:pt idx="326">
                  <c:v>-0.33766200000000002</c:v>
                </c:pt>
                <c:pt idx="327">
                  <c:v>-0.414634</c:v>
                </c:pt>
                <c:pt idx="328">
                  <c:v>-0.17646999999999999</c:v>
                </c:pt>
                <c:pt idx="329">
                  <c:v>-0.15151500000000001</c:v>
                </c:pt>
                <c:pt idx="330">
                  <c:v>-0.11666600000000001</c:v>
                </c:pt>
                <c:pt idx="331">
                  <c:v>-6.2498999999999999E-2</c:v>
                </c:pt>
                <c:pt idx="332">
                  <c:v>-6.7795999999999995E-2</c:v>
                </c:pt>
                <c:pt idx="333">
                  <c:v>1.9230000000000001E-2</c:v>
                </c:pt>
                <c:pt idx="334">
                  <c:v>-0.140625</c:v>
                </c:pt>
                <c:pt idx="335">
                  <c:v>-0.203125</c:v>
                </c:pt>
                <c:pt idx="336">
                  <c:v>-0.17460300000000001</c:v>
                </c:pt>
                <c:pt idx="337">
                  <c:v>-0.19696900000000001</c:v>
                </c:pt>
                <c:pt idx="338">
                  <c:v>-0.29230699999999998</c:v>
                </c:pt>
                <c:pt idx="339">
                  <c:v>-8.6206000000000005E-2</c:v>
                </c:pt>
                <c:pt idx="340">
                  <c:v>-5.3571000000000001E-2</c:v>
                </c:pt>
                <c:pt idx="341">
                  <c:v>-0.208955</c:v>
                </c:pt>
                <c:pt idx="342">
                  <c:v>-0.11666600000000001</c:v>
                </c:pt>
                <c:pt idx="343">
                  <c:v>-0.13333300000000001</c:v>
                </c:pt>
                <c:pt idx="344">
                  <c:v>-3.3897999999999998E-2</c:v>
                </c:pt>
                <c:pt idx="345">
                  <c:v>0</c:v>
                </c:pt>
                <c:pt idx="346">
                  <c:v>0</c:v>
                </c:pt>
                <c:pt idx="347">
                  <c:v>1.7857000000000001E-2</c:v>
                </c:pt>
                <c:pt idx="348">
                  <c:v>-9.2307E-2</c:v>
                </c:pt>
                <c:pt idx="349">
                  <c:v>-3.2786000000000003E-2</c:v>
                </c:pt>
                <c:pt idx="350">
                  <c:v>4.6153E-2</c:v>
                </c:pt>
                <c:pt idx="351">
                  <c:v>6.2498999999999999E-2</c:v>
                </c:pt>
                <c:pt idx="352">
                  <c:v>-5.8823E-2</c:v>
                </c:pt>
                <c:pt idx="353">
                  <c:v>0.05</c:v>
                </c:pt>
                <c:pt idx="354">
                  <c:v>8.0644999999999994E-2</c:v>
                </c:pt>
                <c:pt idx="355">
                  <c:v>-5.6337999999999999E-2</c:v>
                </c:pt>
                <c:pt idx="356">
                  <c:v>-0.131578</c:v>
                </c:pt>
                <c:pt idx="357">
                  <c:v>-0.160493</c:v>
                </c:pt>
                <c:pt idx="358">
                  <c:v>4.2252999999999999E-2</c:v>
                </c:pt>
                <c:pt idx="359">
                  <c:v>0.10958900000000001</c:v>
                </c:pt>
                <c:pt idx="360">
                  <c:v>0.15492900000000001</c:v>
                </c:pt>
                <c:pt idx="361">
                  <c:v>0.125</c:v>
                </c:pt>
                <c:pt idx="362">
                  <c:v>1.282E-2</c:v>
                </c:pt>
                <c:pt idx="363">
                  <c:v>-5.8823E-2</c:v>
                </c:pt>
                <c:pt idx="364">
                  <c:v>-0.12643599999999999</c:v>
                </c:pt>
                <c:pt idx="365">
                  <c:v>-1.1904E-2</c:v>
                </c:pt>
                <c:pt idx="366">
                  <c:v>-1.0989000000000001E-2</c:v>
                </c:pt>
                <c:pt idx="367">
                  <c:v>0.24719099999999999</c:v>
                </c:pt>
                <c:pt idx="368">
                  <c:v>0.40476099999999998</c:v>
                </c:pt>
                <c:pt idx="369">
                  <c:v>0.37362600000000001</c:v>
                </c:pt>
                <c:pt idx="370">
                  <c:v>0.47368399999999999</c:v>
                </c:pt>
                <c:pt idx="371">
                  <c:v>0.57843100000000003</c:v>
                </c:pt>
                <c:pt idx="372">
                  <c:v>0.6</c:v>
                </c:pt>
                <c:pt idx="373">
                  <c:v>0.37190000000000001</c:v>
                </c:pt>
                <c:pt idx="374">
                  <c:v>0.36</c:v>
                </c:pt>
                <c:pt idx="375">
                  <c:v>0.31249900000000003</c:v>
                </c:pt>
                <c:pt idx="376">
                  <c:v>8.5526000000000005E-2</c:v>
                </c:pt>
                <c:pt idx="377">
                  <c:v>2.2727000000000001E-2</c:v>
                </c:pt>
                <c:pt idx="378">
                  <c:v>4.301E-2</c:v>
                </c:pt>
                <c:pt idx="379">
                  <c:v>8.7430999999999995E-2</c:v>
                </c:pt>
                <c:pt idx="380">
                  <c:v>4.4776000000000003E-2</c:v>
                </c:pt>
                <c:pt idx="381">
                  <c:v>0.230769</c:v>
                </c:pt>
                <c:pt idx="382">
                  <c:v>0.29714200000000002</c:v>
                </c:pt>
                <c:pt idx="383">
                  <c:v>0.149758</c:v>
                </c:pt>
                <c:pt idx="384">
                  <c:v>1.7391E-2</c:v>
                </c:pt>
                <c:pt idx="385">
                  <c:v>1.7857000000000001E-2</c:v>
                </c:pt>
                <c:pt idx="386">
                  <c:v>2.5751E-2</c:v>
                </c:pt>
                <c:pt idx="387">
                  <c:v>-0.111969</c:v>
                </c:pt>
                <c:pt idx="388">
                  <c:v>-7.1128999999999998E-2</c:v>
                </c:pt>
                <c:pt idx="389">
                  <c:v>-3.2653000000000001E-2</c:v>
                </c:pt>
                <c:pt idx="390">
                  <c:v>-0.137681</c:v>
                </c:pt>
                <c:pt idx="391">
                  <c:v>-7.5538999999999995E-2</c:v>
                </c:pt>
                <c:pt idx="392">
                  <c:v>-0.107806</c:v>
                </c:pt>
                <c:pt idx="393">
                  <c:v>-4.9242000000000001E-2</c:v>
                </c:pt>
                <c:pt idx="394">
                  <c:v>0.103321</c:v>
                </c:pt>
                <c:pt idx="395">
                  <c:v>0.35714200000000002</c:v>
                </c:pt>
                <c:pt idx="396">
                  <c:v>0.41406199999999999</c:v>
                </c:pt>
                <c:pt idx="397">
                  <c:v>0.26440599999999997</c:v>
                </c:pt>
                <c:pt idx="398">
                  <c:v>0.35915399999999997</c:v>
                </c:pt>
                <c:pt idx="399">
                  <c:v>0.60958900000000005</c:v>
                </c:pt>
                <c:pt idx="400">
                  <c:v>0.645061</c:v>
                </c:pt>
                <c:pt idx="401">
                  <c:v>0.45952999999999999</c:v>
                </c:pt>
                <c:pt idx="402">
                  <c:v>0.47193800000000002</c:v>
                </c:pt>
                <c:pt idx="403">
                  <c:v>0.436224</c:v>
                </c:pt>
                <c:pt idx="404">
                  <c:v>0.25959300000000002</c:v>
                </c:pt>
                <c:pt idx="405">
                  <c:v>0.201207</c:v>
                </c:pt>
                <c:pt idx="406">
                  <c:v>2.7349999999999999E-2</c:v>
                </c:pt>
                <c:pt idx="407">
                  <c:v>-2.2151000000000001E-2</c:v>
                </c:pt>
                <c:pt idx="408">
                  <c:v>-3.7821E-2</c:v>
                </c:pt>
                <c:pt idx="409">
                  <c:v>0.17291999999999999</c:v>
                </c:pt>
                <c:pt idx="410">
                  <c:v>0.323129</c:v>
                </c:pt>
                <c:pt idx="411">
                  <c:v>0.214392</c:v>
                </c:pt>
                <c:pt idx="412">
                  <c:v>0.31039299999999997</c:v>
                </c:pt>
                <c:pt idx="413">
                  <c:v>0.52114499999999997</c:v>
                </c:pt>
                <c:pt idx="414">
                  <c:v>0.72108799999999995</c:v>
                </c:pt>
                <c:pt idx="415">
                  <c:v>0.75395800000000002</c:v>
                </c:pt>
                <c:pt idx="416">
                  <c:v>1.011056</c:v>
                </c:pt>
                <c:pt idx="417">
                  <c:v>1.100598</c:v>
                </c:pt>
                <c:pt idx="418">
                  <c:v>0.77639100000000005</c:v>
                </c:pt>
                <c:pt idx="419">
                  <c:v>0.66503999999999996</c:v>
                </c:pt>
                <c:pt idx="420">
                  <c:v>0.66499600000000003</c:v>
                </c:pt>
                <c:pt idx="421">
                  <c:v>0.63455300000000003</c:v>
                </c:pt>
                <c:pt idx="422">
                  <c:v>0.40285399999999999</c:v>
                </c:pt>
                <c:pt idx="423">
                  <c:v>0.51324999999999998</c:v>
                </c:pt>
                <c:pt idx="424">
                  <c:v>0.56918199999999997</c:v>
                </c:pt>
                <c:pt idx="425">
                  <c:v>0.37149100000000002</c:v>
                </c:pt>
                <c:pt idx="426">
                  <c:v>0.35989300000000002</c:v>
                </c:pt>
                <c:pt idx="427">
                  <c:v>0.380969</c:v>
                </c:pt>
                <c:pt idx="428">
                  <c:v>0.54915700000000001</c:v>
                </c:pt>
                <c:pt idx="429">
                  <c:v>0.60188600000000003</c:v>
                </c:pt>
                <c:pt idx="430">
                  <c:v>0.718028</c:v>
                </c:pt>
                <c:pt idx="431">
                  <c:v>0.72508300000000003</c:v>
                </c:pt>
                <c:pt idx="432">
                  <c:v>0.425425</c:v>
                </c:pt>
                <c:pt idx="433">
                  <c:v>0.31748100000000001</c:v>
                </c:pt>
                <c:pt idx="434">
                  <c:v>0.29004600000000003</c:v>
                </c:pt>
                <c:pt idx="435">
                  <c:v>0.22234499999999999</c:v>
                </c:pt>
                <c:pt idx="436">
                  <c:v>9.3606999999999996E-2</c:v>
                </c:pt>
                <c:pt idx="437">
                  <c:v>0.17336799999999999</c:v>
                </c:pt>
                <c:pt idx="438">
                  <c:v>0.22497</c:v>
                </c:pt>
                <c:pt idx="439">
                  <c:v>0.106646</c:v>
                </c:pt>
                <c:pt idx="440">
                  <c:v>7.2551000000000004E-2</c:v>
                </c:pt>
                <c:pt idx="441">
                  <c:v>8.4406999999999996E-2</c:v>
                </c:pt>
                <c:pt idx="442">
                  <c:v>4.6026999999999998E-2</c:v>
                </c:pt>
                <c:pt idx="443">
                  <c:v>1.5812E-2</c:v>
                </c:pt>
                <c:pt idx="444">
                  <c:v>0.146152</c:v>
                </c:pt>
                <c:pt idx="445">
                  <c:v>0.20754900000000001</c:v>
                </c:pt>
                <c:pt idx="446">
                  <c:v>8.3502000000000007E-2</c:v>
                </c:pt>
                <c:pt idx="447">
                  <c:v>1.6983999999999999E-2</c:v>
                </c:pt>
                <c:pt idx="448">
                  <c:v>6.8934999999999996E-2</c:v>
                </c:pt>
                <c:pt idx="449">
                  <c:v>0.12045599999999999</c:v>
                </c:pt>
                <c:pt idx="450">
                  <c:v>0.109205</c:v>
                </c:pt>
                <c:pt idx="451">
                  <c:v>0.115324</c:v>
                </c:pt>
                <c:pt idx="452">
                  <c:v>0.12942899999999999</c:v>
                </c:pt>
                <c:pt idx="453">
                  <c:v>4.2092999999999998E-2</c:v>
                </c:pt>
                <c:pt idx="454">
                  <c:v>-1.273E-3</c:v>
                </c:pt>
                <c:pt idx="455">
                  <c:v>2.9369999999999999E-3</c:v>
                </c:pt>
                <c:pt idx="456">
                  <c:v>-8.2151000000000002E-2</c:v>
                </c:pt>
                <c:pt idx="457">
                  <c:v>-0.16703399999999999</c:v>
                </c:pt>
                <c:pt idx="458">
                  <c:v>-0.106114</c:v>
                </c:pt>
                <c:pt idx="459">
                  <c:v>-9.2850000000000002E-2</c:v>
                </c:pt>
                <c:pt idx="460">
                  <c:v>-0.189917</c:v>
                </c:pt>
                <c:pt idx="461">
                  <c:v>-0.220974</c:v>
                </c:pt>
                <c:pt idx="462">
                  <c:v>-0.22703400000000001</c:v>
                </c:pt>
                <c:pt idx="463">
                  <c:v>-0.27174399999999999</c:v>
                </c:pt>
                <c:pt idx="464">
                  <c:v>-0.263181</c:v>
                </c:pt>
                <c:pt idx="465">
                  <c:v>-0.24842800000000001</c:v>
                </c:pt>
                <c:pt idx="466">
                  <c:v>-0.230126</c:v>
                </c:pt>
                <c:pt idx="467">
                  <c:v>-0.28403200000000001</c:v>
                </c:pt>
                <c:pt idx="468">
                  <c:v>-0.31426399999999999</c:v>
                </c:pt>
                <c:pt idx="469">
                  <c:v>-0.31505</c:v>
                </c:pt>
                <c:pt idx="470">
                  <c:v>-0.32549899999999998</c:v>
                </c:pt>
                <c:pt idx="471">
                  <c:v>-0.340061</c:v>
                </c:pt>
                <c:pt idx="472">
                  <c:v>-0.31395299999999998</c:v>
                </c:pt>
                <c:pt idx="473">
                  <c:v>-0.29565399999999997</c:v>
                </c:pt>
                <c:pt idx="474">
                  <c:v>-0.352858</c:v>
                </c:pt>
                <c:pt idx="475">
                  <c:v>-0.38137500000000002</c:v>
                </c:pt>
                <c:pt idx="476">
                  <c:v>-0.38745000000000002</c:v>
                </c:pt>
                <c:pt idx="477">
                  <c:v>-0.38810099999999997</c:v>
                </c:pt>
                <c:pt idx="478">
                  <c:v>-0.38638</c:v>
                </c:pt>
                <c:pt idx="479">
                  <c:v>-0.41795900000000002</c:v>
                </c:pt>
                <c:pt idx="480">
                  <c:v>-0.431147</c:v>
                </c:pt>
                <c:pt idx="481">
                  <c:v>-0.479682</c:v>
                </c:pt>
                <c:pt idx="482">
                  <c:v>-0.48832300000000001</c:v>
                </c:pt>
                <c:pt idx="483">
                  <c:v>-0.47628500000000001</c:v>
                </c:pt>
                <c:pt idx="484">
                  <c:v>-0.46237800000000001</c:v>
                </c:pt>
                <c:pt idx="485">
                  <c:v>-0.378498</c:v>
                </c:pt>
                <c:pt idx="486">
                  <c:v>-0.189225</c:v>
                </c:pt>
                <c:pt idx="487">
                  <c:v>-0.128048</c:v>
                </c:pt>
                <c:pt idx="488">
                  <c:v>-0.20382700000000001</c:v>
                </c:pt>
                <c:pt idx="489">
                  <c:v>-0.16719200000000001</c:v>
                </c:pt>
                <c:pt idx="490">
                  <c:v>-6.9617999999999999E-2</c:v>
                </c:pt>
                <c:pt idx="491">
                  <c:v>-3.2841000000000002E-2</c:v>
                </c:pt>
                <c:pt idx="492">
                  <c:v>-1.7937999999999999E-2</c:v>
                </c:pt>
                <c:pt idx="493">
                  <c:v>-1.2382000000000001E-2</c:v>
                </c:pt>
                <c:pt idx="494">
                  <c:v>1.2744999999999999E-2</c:v>
                </c:pt>
                <c:pt idx="495">
                  <c:v>-0.13334799999999999</c:v>
                </c:pt>
                <c:pt idx="496">
                  <c:v>-0.25542599999999999</c:v>
                </c:pt>
                <c:pt idx="497">
                  <c:v>-0.29729100000000003</c:v>
                </c:pt>
                <c:pt idx="498">
                  <c:v>-0.30181999999999998</c:v>
                </c:pt>
                <c:pt idx="499">
                  <c:v>-0.30616599999999999</c:v>
                </c:pt>
                <c:pt idx="500">
                  <c:v>-0.26019700000000001</c:v>
                </c:pt>
                <c:pt idx="501">
                  <c:v>-0.24718200000000001</c:v>
                </c:pt>
                <c:pt idx="502">
                  <c:v>-0.27229399999999998</c:v>
                </c:pt>
                <c:pt idx="503">
                  <c:v>-0.14321800000000001</c:v>
                </c:pt>
                <c:pt idx="504">
                  <c:v>6.0798999999999999E-2</c:v>
                </c:pt>
                <c:pt idx="505">
                  <c:v>0.259936</c:v>
                </c:pt>
                <c:pt idx="506">
                  <c:v>0.47118700000000002</c:v>
                </c:pt>
                <c:pt idx="507">
                  <c:v>0.75273999999999996</c:v>
                </c:pt>
                <c:pt idx="508">
                  <c:v>0.91386199999999995</c:v>
                </c:pt>
                <c:pt idx="509">
                  <c:v>0.71786700000000003</c:v>
                </c:pt>
                <c:pt idx="510">
                  <c:v>0.63445200000000002</c:v>
                </c:pt>
                <c:pt idx="511">
                  <c:v>0.62021400000000004</c:v>
                </c:pt>
                <c:pt idx="512">
                  <c:v>0.67301699999999998</c:v>
                </c:pt>
                <c:pt idx="513">
                  <c:v>0.56813400000000003</c:v>
                </c:pt>
                <c:pt idx="514">
                  <c:v>0.71613499999999997</c:v>
                </c:pt>
                <c:pt idx="515">
                  <c:v>0.69994000000000001</c:v>
                </c:pt>
                <c:pt idx="516">
                  <c:v>0.54484299999999997</c:v>
                </c:pt>
                <c:pt idx="517">
                  <c:v>0.43071500000000001</c:v>
                </c:pt>
                <c:pt idx="518">
                  <c:v>0.36024099999999998</c:v>
                </c:pt>
                <c:pt idx="519">
                  <c:v>0.29582900000000001</c:v>
                </c:pt>
                <c:pt idx="520">
                  <c:v>0.20924999999999999</c:v>
                </c:pt>
                <c:pt idx="521">
                  <c:v>0.20272200000000001</c:v>
                </c:pt>
                <c:pt idx="522">
                  <c:v>0.221995</c:v>
                </c:pt>
                <c:pt idx="523">
                  <c:v>7.2368000000000002E-2</c:v>
                </c:pt>
                <c:pt idx="524">
                  <c:v>-6.5129999999999997E-3</c:v>
                </c:pt>
                <c:pt idx="525">
                  <c:v>-8.5676000000000002E-2</c:v>
                </c:pt>
                <c:pt idx="526">
                  <c:v>-0.108261</c:v>
                </c:pt>
                <c:pt idx="527">
                  <c:v>-0.15146599999999999</c:v>
                </c:pt>
                <c:pt idx="528">
                  <c:v>-0.107613</c:v>
                </c:pt>
                <c:pt idx="529">
                  <c:v>-0.13766</c:v>
                </c:pt>
                <c:pt idx="530">
                  <c:v>-0.195606</c:v>
                </c:pt>
                <c:pt idx="531">
                  <c:v>-0.246722</c:v>
                </c:pt>
                <c:pt idx="532">
                  <c:v>-0.23819899999999999</c:v>
                </c:pt>
                <c:pt idx="533">
                  <c:v>-0.25257400000000002</c:v>
                </c:pt>
                <c:pt idx="534">
                  <c:v>-0.26139400000000002</c:v>
                </c:pt>
                <c:pt idx="535">
                  <c:v>-0.247338</c:v>
                </c:pt>
                <c:pt idx="536">
                  <c:v>-0.205091</c:v>
                </c:pt>
                <c:pt idx="537">
                  <c:v>-0.28172900000000001</c:v>
                </c:pt>
                <c:pt idx="538">
                  <c:v>-0.30725599999999997</c:v>
                </c:pt>
                <c:pt idx="539">
                  <c:v>-0.328235</c:v>
                </c:pt>
                <c:pt idx="540">
                  <c:v>-0.33380300000000002</c:v>
                </c:pt>
                <c:pt idx="541">
                  <c:v>-0.34021400000000002</c:v>
                </c:pt>
                <c:pt idx="542">
                  <c:v>-0.29627300000000001</c:v>
                </c:pt>
                <c:pt idx="543">
                  <c:v>-0.28309800000000002</c:v>
                </c:pt>
                <c:pt idx="544">
                  <c:v>-0.34678500000000001</c:v>
                </c:pt>
                <c:pt idx="545">
                  <c:v>-0.35694399999999998</c:v>
                </c:pt>
                <c:pt idx="546">
                  <c:v>-0.32297300000000001</c:v>
                </c:pt>
                <c:pt idx="547">
                  <c:v>-0.30953199999999997</c:v>
                </c:pt>
                <c:pt idx="548">
                  <c:v>-0.30035400000000001</c:v>
                </c:pt>
                <c:pt idx="549">
                  <c:v>-0.24424999999999999</c:v>
                </c:pt>
                <c:pt idx="550">
                  <c:v>-0.20943000000000001</c:v>
                </c:pt>
                <c:pt idx="551">
                  <c:v>-0.3197499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C8-4E7B-83D3-5242563E84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388612884737783E-2"/>
          <c:y val="3.7475733179641986E-2"/>
          <c:w val="0.92647190119621747"/>
          <c:h val="0.71333410604347958"/>
        </c:manualLayout>
      </c:layout>
      <c:lineChart>
        <c:grouping val="standard"/>
        <c:varyColors val="0"/>
        <c:ser>
          <c:idx val="3"/>
          <c:order val="0"/>
          <c:tx>
            <c:v>POZ_indik_testu_nyni</c:v>
          </c:tx>
          <c:spPr>
            <a:ln>
              <a:solidFill>
                <a:srgbClr val="D31145"/>
              </a:solidFill>
            </a:ln>
          </c:spPr>
          <c:marker>
            <c:symbol val="none"/>
          </c:marker>
          <c:cat>
            <c:numRef>
              <c:f>Sheet1!$A$2:$A$553</c:f>
              <c:numCache>
                <c:formatCode>m/d/yyyy</c:formatCode>
                <c:ptCount val="552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</c:numCache>
            </c:numRef>
          </c:cat>
          <c:val>
            <c:numRef>
              <c:f>Sheet1!$B$2:$B$553</c:f>
              <c:numCache>
                <c:formatCode>#\ ##0.0</c:formatCode>
                <c:ptCount val="552"/>
                <c:pt idx="0">
                  <c:v>1.5022802468E-2</c:v>
                </c:pt>
                <c:pt idx="1">
                  <c:v>2.5889164597999999E-2</c:v>
                </c:pt>
                <c:pt idx="2">
                  <c:v>3.7424978019000001E-2</c:v>
                </c:pt>
                <c:pt idx="3">
                  <c:v>4.9611454885000003E-2</c:v>
                </c:pt>
                <c:pt idx="4">
                  <c:v>5.6178999342999997E-2</c:v>
                </c:pt>
                <c:pt idx="5">
                  <c:v>6.0824638506999998E-2</c:v>
                </c:pt>
                <c:pt idx="6">
                  <c:v>6.5567460061999996E-2</c:v>
                </c:pt>
                <c:pt idx="7">
                  <c:v>7.2201330632999994E-2</c:v>
                </c:pt>
                <c:pt idx="8">
                  <c:v>7.5971068845000003E-2</c:v>
                </c:pt>
                <c:pt idx="9">
                  <c:v>8.1471844468999993E-2</c:v>
                </c:pt>
                <c:pt idx="10">
                  <c:v>8.1204181668000003E-2</c:v>
                </c:pt>
                <c:pt idx="11">
                  <c:v>9.0824452279999995E-2</c:v>
                </c:pt>
                <c:pt idx="12">
                  <c:v>9.3122302158000006E-2</c:v>
                </c:pt>
                <c:pt idx="13">
                  <c:v>9.1892857142000003E-2</c:v>
                </c:pt>
                <c:pt idx="14">
                  <c:v>9.2083326315999997E-2</c:v>
                </c:pt>
                <c:pt idx="15">
                  <c:v>9.7263013184999997E-2</c:v>
                </c:pt>
                <c:pt idx="16">
                  <c:v>0.10959713079900001</c:v>
                </c:pt>
                <c:pt idx="17">
                  <c:v>0.116234484109</c:v>
                </c:pt>
                <c:pt idx="18">
                  <c:v>0.116295675816</c:v>
                </c:pt>
                <c:pt idx="19">
                  <c:v>0.114272797383</c:v>
                </c:pt>
                <c:pt idx="20">
                  <c:v>0.116024940541</c:v>
                </c:pt>
                <c:pt idx="21">
                  <c:v>0.121289196434</c:v>
                </c:pt>
                <c:pt idx="22">
                  <c:v>0.12199343913000001</c:v>
                </c:pt>
                <c:pt idx="23">
                  <c:v>0.11929929451100001</c:v>
                </c:pt>
                <c:pt idx="24">
                  <c:v>0.12441157467199999</c:v>
                </c:pt>
                <c:pt idx="25">
                  <c:v>0.12620905192000001</c:v>
                </c:pt>
                <c:pt idx="26">
                  <c:v>0.128987877079</c:v>
                </c:pt>
                <c:pt idx="27">
                  <c:v>0.13354784916500001</c:v>
                </c:pt>
                <c:pt idx="28">
                  <c:v>0.135131237381</c:v>
                </c:pt>
                <c:pt idx="29">
                  <c:v>0.142042858173</c:v>
                </c:pt>
                <c:pt idx="30">
                  <c:v>0.15018301958499999</c:v>
                </c:pt>
                <c:pt idx="31">
                  <c:v>0.15899735024100001</c:v>
                </c:pt>
                <c:pt idx="32">
                  <c:v>0.16599080193400001</c:v>
                </c:pt>
                <c:pt idx="33">
                  <c:v>0.17394656322999999</c:v>
                </c:pt>
                <c:pt idx="34">
                  <c:v>0.184498707268</c:v>
                </c:pt>
                <c:pt idx="35">
                  <c:v>0.197603419325</c:v>
                </c:pt>
                <c:pt idx="36">
                  <c:v>0.21360126916899999</c:v>
                </c:pt>
                <c:pt idx="37">
                  <c:v>0.226835369461</c:v>
                </c:pt>
                <c:pt idx="38">
                  <c:v>0.25859546816000001</c:v>
                </c:pt>
                <c:pt idx="39">
                  <c:v>0.26993359507499998</c:v>
                </c:pt>
                <c:pt idx="40">
                  <c:v>0.27335705454300002</c:v>
                </c:pt>
                <c:pt idx="41">
                  <c:v>0.27455574178800002</c:v>
                </c:pt>
                <c:pt idx="42">
                  <c:v>0.28687796338799998</c:v>
                </c:pt>
                <c:pt idx="43">
                  <c:v>0.297439264609</c:v>
                </c:pt>
                <c:pt idx="44">
                  <c:v>0.30682399243800001</c:v>
                </c:pt>
                <c:pt idx="45">
                  <c:v>0.30353349926599998</c:v>
                </c:pt>
                <c:pt idx="46">
                  <c:v>0.30776584339899998</c:v>
                </c:pt>
                <c:pt idx="47">
                  <c:v>0.30986259421000001</c:v>
                </c:pt>
                <c:pt idx="48">
                  <c:v>0.31625061890099998</c:v>
                </c:pt>
                <c:pt idx="49">
                  <c:v>0.32074645068800001</c:v>
                </c:pt>
                <c:pt idx="50">
                  <c:v>0.330599974199</c:v>
                </c:pt>
                <c:pt idx="51">
                  <c:v>0.33566075033999998</c:v>
                </c:pt>
                <c:pt idx="52">
                  <c:v>0.34231819612300002</c:v>
                </c:pt>
                <c:pt idx="53">
                  <c:v>0.34426506675899998</c:v>
                </c:pt>
                <c:pt idx="54">
                  <c:v>0.347320209376</c:v>
                </c:pt>
                <c:pt idx="55">
                  <c:v>0.34860594623500002</c:v>
                </c:pt>
                <c:pt idx="56">
                  <c:v>0.35198753201999999</c:v>
                </c:pt>
                <c:pt idx="57">
                  <c:v>0.34937505083600001</c:v>
                </c:pt>
                <c:pt idx="58">
                  <c:v>0.34678965949200002</c:v>
                </c:pt>
                <c:pt idx="59">
                  <c:v>0.33811054940899998</c:v>
                </c:pt>
                <c:pt idx="60">
                  <c:v>0.33744867244900001</c:v>
                </c:pt>
                <c:pt idx="61">
                  <c:v>0.335770598167</c:v>
                </c:pt>
                <c:pt idx="62">
                  <c:v>0.33564429099600002</c:v>
                </c:pt>
                <c:pt idx="63">
                  <c:v>0.32873132927999998</c:v>
                </c:pt>
                <c:pt idx="64">
                  <c:v>0.33275445902099998</c:v>
                </c:pt>
                <c:pt idx="65">
                  <c:v>0.33405857971000003</c:v>
                </c:pt>
                <c:pt idx="66">
                  <c:v>0.33486701776200001</c:v>
                </c:pt>
                <c:pt idx="67">
                  <c:v>0.33298112836600002</c:v>
                </c:pt>
                <c:pt idx="68">
                  <c:v>0.329257500594</c:v>
                </c:pt>
                <c:pt idx="69">
                  <c:v>0.31769593475199998</c:v>
                </c:pt>
                <c:pt idx="70">
                  <c:v>0.31142966141099998</c:v>
                </c:pt>
                <c:pt idx="71">
                  <c:v>0.29516942647200001</c:v>
                </c:pt>
                <c:pt idx="72">
                  <c:v>0.28418543816300001</c:v>
                </c:pt>
                <c:pt idx="73">
                  <c:v>0.27401845540699998</c:v>
                </c:pt>
                <c:pt idx="74">
                  <c:v>0.26833413499999997</c:v>
                </c:pt>
                <c:pt idx="75">
                  <c:v>0.26620955050900003</c:v>
                </c:pt>
                <c:pt idx="76">
                  <c:v>0.26401006262299997</c:v>
                </c:pt>
                <c:pt idx="77">
                  <c:v>0.26397108651399998</c:v>
                </c:pt>
                <c:pt idx="78">
                  <c:v>0.25492894635699997</c:v>
                </c:pt>
                <c:pt idx="79">
                  <c:v>0.25185343833399998</c:v>
                </c:pt>
                <c:pt idx="80">
                  <c:v>0.25025484636400003</c:v>
                </c:pt>
                <c:pt idx="81">
                  <c:v>0.245281381524</c:v>
                </c:pt>
                <c:pt idx="82">
                  <c:v>0.24445671416799999</c:v>
                </c:pt>
                <c:pt idx="83">
                  <c:v>0.23921450897900001</c:v>
                </c:pt>
                <c:pt idx="84">
                  <c:v>0.237663173915</c:v>
                </c:pt>
                <c:pt idx="85">
                  <c:v>0.23750904524700001</c:v>
                </c:pt>
                <c:pt idx="86">
                  <c:v>0.229851307438</c:v>
                </c:pt>
                <c:pt idx="87">
                  <c:v>0.224018093556</c:v>
                </c:pt>
                <c:pt idx="88">
                  <c:v>0.223496587302</c:v>
                </c:pt>
                <c:pt idx="89">
                  <c:v>0.22200817775699999</c:v>
                </c:pt>
                <c:pt idx="90">
                  <c:v>0.21655200053400001</c:v>
                </c:pt>
                <c:pt idx="91">
                  <c:v>0.21424358168499999</c:v>
                </c:pt>
                <c:pt idx="92">
                  <c:v>0.211368441283</c:v>
                </c:pt>
                <c:pt idx="93">
                  <c:v>0.214542488309</c:v>
                </c:pt>
                <c:pt idx="94">
                  <c:v>0.217546119171</c:v>
                </c:pt>
                <c:pt idx="95">
                  <c:v>0.22205699657399999</c:v>
                </c:pt>
                <c:pt idx="96">
                  <c:v>0.220832319754</c:v>
                </c:pt>
                <c:pt idx="97">
                  <c:v>0.22373462020099999</c:v>
                </c:pt>
                <c:pt idx="98">
                  <c:v>0.223378273199</c:v>
                </c:pt>
                <c:pt idx="99">
                  <c:v>0.231902810101</c:v>
                </c:pt>
                <c:pt idx="100">
                  <c:v>0.23313554158999999</c:v>
                </c:pt>
                <c:pt idx="101">
                  <c:v>0.23258834523899999</c:v>
                </c:pt>
                <c:pt idx="102">
                  <c:v>0.23070596086</c:v>
                </c:pt>
                <c:pt idx="103">
                  <c:v>0.234097842917</c:v>
                </c:pt>
                <c:pt idx="104">
                  <c:v>0.23504215801</c:v>
                </c:pt>
                <c:pt idx="105">
                  <c:v>0.23844501470500001</c:v>
                </c:pt>
                <c:pt idx="106">
                  <c:v>0.23740789826</c:v>
                </c:pt>
                <c:pt idx="107">
                  <c:v>0.23663172035899999</c:v>
                </c:pt>
                <c:pt idx="108">
                  <c:v>0.23985160560400001</c:v>
                </c:pt>
                <c:pt idx="109">
                  <c:v>0.23731436963300001</c:v>
                </c:pt>
                <c:pt idx="110">
                  <c:v>0.23778233104900001</c:v>
                </c:pt>
                <c:pt idx="111">
                  <c:v>0.23881821676699999</c:v>
                </c:pt>
                <c:pt idx="112">
                  <c:v>0.23737538458099999</c:v>
                </c:pt>
                <c:pt idx="113">
                  <c:v>0.24374037760299999</c:v>
                </c:pt>
                <c:pt idx="114">
                  <c:v>0.24885000250299999</c:v>
                </c:pt>
                <c:pt idx="115">
                  <c:v>0.250762122054</c:v>
                </c:pt>
                <c:pt idx="116">
                  <c:v>0.25401828353099998</c:v>
                </c:pt>
                <c:pt idx="117">
                  <c:v>0.25395024659299997</c:v>
                </c:pt>
                <c:pt idx="118">
                  <c:v>0.27128733054699999</c:v>
                </c:pt>
                <c:pt idx="119">
                  <c:v>0.305531978461</c:v>
                </c:pt>
                <c:pt idx="120">
                  <c:v>0.33360636059299997</c:v>
                </c:pt>
                <c:pt idx="121">
                  <c:v>0.34569684485500002</c:v>
                </c:pt>
                <c:pt idx="122">
                  <c:v>0.35132392519700001</c:v>
                </c:pt>
                <c:pt idx="123">
                  <c:v>0.34984582753499999</c:v>
                </c:pt>
                <c:pt idx="124">
                  <c:v>0.353387250752</c:v>
                </c:pt>
                <c:pt idx="125">
                  <c:v>0.34676018089100002</c:v>
                </c:pt>
                <c:pt idx="126">
                  <c:v>0.33619575150999997</c:v>
                </c:pt>
                <c:pt idx="127">
                  <c:v>0.33825480354600002</c:v>
                </c:pt>
                <c:pt idx="128">
                  <c:v>0.32838708662499999</c:v>
                </c:pt>
                <c:pt idx="129">
                  <c:v>0.31915276664999997</c:v>
                </c:pt>
                <c:pt idx="130">
                  <c:v>0.32484402257700001</c:v>
                </c:pt>
                <c:pt idx="131">
                  <c:v>0.32277249612999998</c:v>
                </c:pt>
                <c:pt idx="132">
                  <c:v>0.313108244072</c:v>
                </c:pt>
                <c:pt idx="133">
                  <c:v>0.299094597382</c:v>
                </c:pt>
                <c:pt idx="134">
                  <c:v>0.28024824380199997</c:v>
                </c:pt>
                <c:pt idx="135">
                  <c:v>0.26214895559200002</c:v>
                </c:pt>
                <c:pt idx="136">
                  <c:v>0.25520883292800001</c:v>
                </c:pt>
                <c:pt idx="137">
                  <c:v>0.24628248959900001</c:v>
                </c:pt>
                <c:pt idx="138">
                  <c:v>0.244450611885</c:v>
                </c:pt>
                <c:pt idx="139">
                  <c:v>0.244991172802</c:v>
                </c:pt>
                <c:pt idx="140">
                  <c:v>0.24838567449999999</c:v>
                </c:pt>
                <c:pt idx="141">
                  <c:v>0.24265880399600001</c:v>
                </c:pt>
                <c:pt idx="142">
                  <c:v>0.24788348230599999</c:v>
                </c:pt>
                <c:pt idx="143">
                  <c:v>0.24445778049700001</c:v>
                </c:pt>
                <c:pt idx="144">
                  <c:v>0.24295200724400001</c:v>
                </c:pt>
                <c:pt idx="145">
                  <c:v>0.24176628150900001</c:v>
                </c:pt>
                <c:pt idx="146">
                  <c:v>0.23860615902999999</c:v>
                </c:pt>
                <c:pt idx="147">
                  <c:v>0.23676327942399999</c:v>
                </c:pt>
                <c:pt idx="148">
                  <c:v>0.23394509218500001</c:v>
                </c:pt>
                <c:pt idx="149">
                  <c:v>0.23479218768599999</c:v>
                </c:pt>
                <c:pt idx="150">
                  <c:v>0.23313163942099999</c:v>
                </c:pt>
                <c:pt idx="151">
                  <c:v>0.231438696966</c:v>
                </c:pt>
                <c:pt idx="152">
                  <c:v>0.23181304407</c:v>
                </c:pt>
                <c:pt idx="153">
                  <c:v>0.23222132676000001</c:v>
                </c:pt>
                <c:pt idx="154">
                  <c:v>0.229342070619</c:v>
                </c:pt>
                <c:pt idx="155">
                  <c:v>0.233741517186</c:v>
                </c:pt>
                <c:pt idx="156">
                  <c:v>0.230127855193</c:v>
                </c:pt>
                <c:pt idx="157">
                  <c:v>0.230651634956</c:v>
                </c:pt>
                <c:pt idx="158">
                  <c:v>0.23320336103700001</c:v>
                </c:pt>
                <c:pt idx="159">
                  <c:v>0.23173380951200001</c:v>
                </c:pt>
                <c:pt idx="160">
                  <c:v>0.23460870860300001</c:v>
                </c:pt>
                <c:pt idx="161">
                  <c:v>0.23853767832299999</c:v>
                </c:pt>
                <c:pt idx="162">
                  <c:v>0.23810173422200001</c:v>
                </c:pt>
                <c:pt idx="163">
                  <c:v>0.24098855482699999</c:v>
                </c:pt>
                <c:pt idx="164">
                  <c:v>0.24151083926700001</c:v>
                </c:pt>
                <c:pt idx="165">
                  <c:v>0.24017266767000001</c:v>
                </c:pt>
                <c:pt idx="166">
                  <c:v>0.24104511416900001</c:v>
                </c:pt>
                <c:pt idx="167">
                  <c:v>0.241325828779</c:v>
                </c:pt>
                <c:pt idx="168">
                  <c:v>0.24645915191600001</c:v>
                </c:pt>
                <c:pt idx="169">
                  <c:v>0.24697721038100001</c:v>
                </c:pt>
                <c:pt idx="170">
                  <c:v>0.25007148254799999</c:v>
                </c:pt>
                <c:pt idx="171">
                  <c:v>0.25081994661700002</c:v>
                </c:pt>
                <c:pt idx="172">
                  <c:v>0.25420734496800002</c:v>
                </c:pt>
                <c:pt idx="173">
                  <c:v>0.25636856629999999</c:v>
                </c:pt>
                <c:pt idx="174">
                  <c:v>0.25784146193399998</c:v>
                </c:pt>
                <c:pt idx="175">
                  <c:v>0.26075820134900002</c:v>
                </c:pt>
                <c:pt idx="176">
                  <c:v>0.263068927457</c:v>
                </c:pt>
                <c:pt idx="177">
                  <c:v>0.26547502924100003</c:v>
                </c:pt>
                <c:pt idx="178">
                  <c:v>0.26912142786499998</c:v>
                </c:pt>
                <c:pt idx="179">
                  <c:v>0.26736708338199999</c:v>
                </c:pt>
                <c:pt idx="180">
                  <c:v>0.26623405270700001</c:v>
                </c:pt>
                <c:pt idx="181">
                  <c:v>0.265632364648</c:v>
                </c:pt>
                <c:pt idx="182">
                  <c:v>0.26316382293599999</c:v>
                </c:pt>
                <c:pt idx="183">
                  <c:v>0.26384711079599998</c:v>
                </c:pt>
                <c:pt idx="184">
                  <c:v>0.26081083137900002</c:v>
                </c:pt>
                <c:pt idx="185">
                  <c:v>0.25322293299999998</c:v>
                </c:pt>
                <c:pt idx="186">
                  <c:v>0.25788903852700001</c:v>
                </c:pt>
                <c:pt idx="187">
                  <c:v>0.25640870753599998</c:v>
                </c:pt>
                <c:pt idx="188">
                  <c:v>0.24768514223099999</c:v>
                </c:pt>
                <c:pt idx="189">
                  <c:v>0.23943213858599999</c:v>
                </c:pt>
                <c:pt idx="190">
                  <c:v>0.23106190150399999</c:v>
                </c:pt>
                <c:pt idx="191">
                  <c:v>0.21770762707300001</c:v>
                </c:pt>
                <c:pt idx="192">
                  <c:v>0.22089445913</c:v>
                </c:pt>
                <c:pt idx="193">
                  <c:v>0.21603709201900001</c:v>
                </c:pt>
                <c:pt idx="194">
                  <c:v>0.21510768264399999</c:v>
                </c:pt>
                <c:pt idx="195">
                  <c:v>0.210956485616</c:v>
                </c:pt>
                <c:pt idx="196">
                  <c:v>0.20711984168899999</c:v>
                </c:pt>
                <c:pt idx="197">
                  <c:v>0.202589356576</c:v>
                </c:pt>
                <c:pt idx="198">
                  <c:v>0.20349392898800001</c:v>
                </c:pt>
                <c:pt idx="199">
                  <c:v>0.19358045732099999</c:v>
                </c:pt>
                <c:pt idx="200">
                  <c:v>0.191187989078</c:v>
                </c:pt>
                <c:pt idx="201">
                  <c:v>0.189573668286</c:v>
                </c:pt>
                <c:pt idx="202">
                  <c:v>0.183421770742</c:v>
                </c:pt>
                <c:pt idx="203">
                  <c:v>0.17638734646400001</c:v>
                </c:pt>
                <c:pt idx="204">
                  <c:v>0.16956479025400001</c:v>
                </c:pt>
                <c:pt idx="205">
                  <c:v>0.16208844581699999</c:v>
                </c:pt>
                <c:pt idx="206">
                  <c:v>0.15905133639800001</c:v>
                </c:pt>
                <c:pt idx="207">
                  <c:v>0.15695178335500001</c:v>
                </c:pt>
                <c:pt idx="208">
                  <c:v>0.15571644566199999</c:v>
                </c:pt>
                <c:pt idx="209">
                  <c:v>0.15297028723</c:v>
                </c:pt>
                <c:pt idx="210">
                  <c:v>0.147020667982</c:v>
                </c:pt>
                <c:pt idx="211">
                  <c:v>0.14221355104799999</c:v>
                </c:pt>
                <c:pt idx="212">
                  <c:v>0.13629610594</c:v>
                </c:pt>
                <c:pt idx="213">
                  <c:v>0.13529005891400001</c:v>
                </c:pt>
                <c:pt idx="214">
                  <c:v>0.13195678681799999</c:v>
                </c:pt>
                <c:pt idx="215">
                  <c:v>0.13327476826699999</c:v>
                </c:pt>
                <c:pt idx="216">
                  <c:v>0.13674386717600001</c:v>
                </c:pt>
                <c:pt idx="217">
                  <c:v>0.113240302815</c:v>
                </c:pt>
                <c:pt idx="218">
                  <c:v>0.11018129028699999</c:v>
                </c:pt>
                <c:pt idx="219">
                  <c:v>0.109622361898</c:v>
                </c:pt>
                <c:pt idx="220">
                  <c:v>0.105411969915</c:v>
                </c:pt>
                <c:pt idx="221">
                  <c:v>0.10432800341700001</c:v>
                </c:pt>
                <c:pt idx="222">
                  <c:v>0.101369482099</c:v>
                </c:pt>
                <c:pt idx="223">
                  <c:v>9.4607196961999998E-2</c:v>
                </c:pt>
                <c:pt idx="224">
                  <c:v>9.9941441384000004E-2</c:v>
                </c:pt>
                <c:pt idx="225">
                  <c:v>9.1534241185000004E-2</c:v>
                </c:pt>
                <c:pt idx="226">
                  <c:v>8.5482600886000001E-2</c:v>
                </c:pt>
                <c:pt idx="227">
                  <c:v>8.1319918066999994E-2</c:v>
                </c:pt>
                <c:pt idx="228">
                  <c:v>7.9412750613000002E-2</c:v>
                </c:pt>
                <c:pt idx="229">
                  <c:v>7.8819650182000003E-2</c:v>
                </c:pt>
                <c:pt idx="230">
                  <c:v>7.7271633468999998E-2</c:v>
                </c:pt>
                <c:pt idx="231">
                  <c:v>7.2773595299000002E-2</c:v>
                </c:pt>
                <c:pt idx="232">
                  <c:v>7.0523089459000002E-2</c:v>
                </c:pt>
                <c:pt idx="233">
                  <c:v>6.8161198340000007E-2</c:v>
                </c:pt>
                <c:pt idx="234">
                  <c:v>6.5767066488000001E-2</c:v>
                </c:pt>
                <c:pt idx="235">
                  <c:v>6.4913539665000006E-2</c:v>
                </c:pt>
                <c:pt idx="236">
                  <c:v>6.5245991567000006E-2</c:v>
                </c:pt>
                <c:pt idx="237">
                  <c:v>6.2465124065000002E-2</c:v>
                </c:pt>
                <c:pt idx="238">
                  <c:v>6.0824867863000003E-2</c:v>
                </c:pt>
                <c:pt idx="239">
                  <c:v>5.8987005949999997E-2</c:v>
                </c:pt>
                <c:pt idx="240">
                  <c:v>5.7146572180000001E-2</c:v>
                </c:pt>
                <c:pt idx="241">
                  <c:v>5.5241931757999997E-2</c:v>
                </c:pt>
                <c:pt idx="242">
                  <c:v>5.5511770868999999E-2</c:v>
                </c:pt>
                <c:pt idx="243">
                  <c:v>5.4075938184999998E-2</c:v>
                </c:pt>
                <c:pt idx="244">
                  <c:v>5.1193333634999998E-2</c:v>
                </c:pt>
                <c:pt idx="245">
                  <c:v>4.8335002896999997E-2</c:v>
                </c:pt>
                <c:pt idx="246">
                  <c:v>4.6150518640999998E-2</c:v>
                </c:pt>
                <c:pt idx="247">
                  <c:v>4.4134579642000002E-2</c:v>
                </c:pt>
                <c:pt idx="248">
                  <c:v>4.2506409262E-2</c:v>
                </c:pt>
                <c:pt idx="249">
                  <c:v>4.0532602309999999E-2</c:v>
                </c:pt>
                <c:pt idx="250">
                  <c:v>4.0122865149E-2</c:v>
                </c:pt>
                <c:pt idx="251">
                  <c:v>3.7893994466000003E-2</c:v>
                </c:pt>
                <c:pt idx="252">
                  <c:v>3.5153622656999998E-2</c:v>
                </c:pt>
                <c:pt idx="253">
                  <c:v>3.2801021889999997E-2</c:v>
                </c:pt>
                <c:pt idx="254">
                  <c:v>3.1328767059E-2</c:v>
                </c:pt>
                <c:pt idx="255">
                  <c:v>2.9029751332E-2</c:v>
                </c:pt>
                <c:pt idx="256">
                  <c:v>2.8398830609E-2</c:v>
                </c:pt>
                <c:pt idx="257">
                  <c:v>2.7858458895E-2</c:v>
                </c:pt>
                <c:pt idx="258">
                  <c:v>2.4980297354000001E-2</c:v>
                </c:pt>
                <c:pt idx="259">
                  <c:v>2.2784250110000001E-2</c:v>
                </c:pt>
                <c:pt idx="260">
                  <c:v>2.0929648988999999E-2</c:v>
                </c:pt>
                <c:pt idx="261">
                  <c:v>1.9015622374999999E-2</c:v>
                </c:pt>
                <c:pt idx="262">
                  <c:v>1.7171704813999999E-2</c:v>
                </c:pt>
                <c:pt idx="263">
                  <c:v>1.6333678976E-2</c:v>
                </c:pt>
                <c:pt idx="264">
                  <c:v>1.6226849395E-2</c:v>
                </c:pt>
                <c:pt idx="265">
                  <c:v>1.5337667617999999E-2</c:v>
                </c:pt>
                <c:pt idx="266">
                  <c:v>1.3836773986000001E-2</c:v>
                </c:pt>
                <c:pt idx="267">
                  <c:v>1.3418411267E-2</c:v>
                </c:pt>
                <c:pt idx="268">
                  <c:v>1.3051429712E-2</c:v>
                </c:pt>
                <c:pt idx="269">
                  <c:v>1.2500289786999999E-2</c:v>
                </c:pt>
                <c:pt idx="270">
                  <c:v>1.2257248835E-2</c:v>
                </c:pt>
                <c:pt idx="271">
                  <c:v>1.2024450494E-2</c:v>
                </c:pt>
                <c:pt idx="272">
                  <c:v>1.1595670306E-2</c:v>
                </c:pt>
                <c:pt idx="273">
                  <c:v>1.1236513203000001E-2</c:v>
                </c:pt>
                <c:pt idx="274">
                  <c:v>1.0501224391E-2</c:v>
                </c:pt>
                <c:pt idx="275">
                  <c:v>9.7332063119999999E-3</c:v>
                </c:pt>
                <c:pt idx="276">
                  <c:v>9.1480759069999997E-3</c:v>
                </c:pt>
                <c:pt idx="277">
                  <c:v>8.7824942070000005E-3</c:v>
                </c:pt>
                <c:pt idx="278">
                  <c:v>8.7224823390000001E-3</c:v>
                </c:pt>
                <c:pt idx="279">
                  <c:v>7.9395672049999994E-3</c:v>
                </c:pt>
                <c:pt idx="280">
                  <c:v>7.4400946920000002E-3</c:v>
                </c:pt>
                <c:pt idx="281">
                  <c:v>7.1001098760000003E-3</c:v>
                </c:pt>
                <c:pt idx="282">
                  <c:v>6.6727906130000002E-3</c:v>
                </c:pt>
                <c:pt idx="283">
                  <c:v>6.141573866E-3</c:v>
                </c:pt>
                <c:pt idx="284">
                  <c:v>5.8461284850000001E-3</c:v>
                </c:pt>
                <c:pt idx="285">
                  <c:v>5.6365322909999998E-3</c:v>
                </c:pt>
                <c:pt idx="286">
                  <c:v>5.3637873849999998E-3</c:v>
                </c:pt>
                <c:pt idx="287">
                  <c:v>4.5995092170000003E-3</c:v>
                </c:pt>
                <c:pt idx="288">
                  <c:v>4.0891906480000004E-3</c:v>
                </c:pt>
                <c:pt idx="289">
                  <c:v>3.700106082E-3</c:v>
                </c:pt>
                <c:pt idx="290">
                  <c:v>3.4033262690000001E-3</c:v>
                </c:pt>
                <c:pt idx="291">
                  <c:v>3.28930462E-3</c:v>
                </c:pt>
                <c:pt idx="292">
                  <c:v>3.3455379929999999E-3</c:v>
                </c:pt>
                <c:pt idx="293">
                  <c:v>3.080014276E-3</c:v>
                </c:pt>
                <c:pt idx="294">
                  <c:v>2.7396701509999999E-3</c:v>
                </c:pt>
                <c:pt idx="295">
                  <c:v>2.7603809040000001E-3</c:v>
                </c:pt>
                <c:pt idx="296">
                  <c:v>2.691732229E-3</c:v>
                </c:pt>
                <c:pt idx="297">
                  <c:v>2.8170058189999998E-3</c:v>
                </c:pt>
                <c:pt idx="298">
                  <c:v>2.7865420339999998E-3</c:v>
                </c:pt>
                <c:pt idx="299">
                  <c:v>2.7451386619999998E-3</c:v>
                </c:pt>
                <c:pt idx="300">
                  <c:v>2.832560011E-3</c:v>
                </c:pt>
                <c:pt idx="301">
                  <c:v>3.0253753349999998E-3</c:v>
                </c:pt>
                <c:pt idx="302">
                  <c:v>2.9945947560000002E-3</c:v>
                </c:pt>
                <c:pt idx="303">
                  <c:v>3.284035059E-3</c:v>
                </c:pt>
                <c:pt idx="304">
                  <c:v>3.3141943449999998E-3</c:v>
                </c:pt>
                <c:pt idx="305">
                  <c:v>3.4785302849999998E-3</c:v>
                </c:pt>
                <c:pt idx="306">
                  <c:v>3.5902163129999999E-3</c:v>
                </c:pt>
                <c:pt idx="307">
                  <c:v>4.1944258930000002E-3</c:v>
                </c:pt>
                <c:pt idx="308">
                  <c:v>4.5196354089999998E-3</c:v>
                </c:pt>
                <c:pt idx="309">
                  <c:v>5.342558287E-3</c:v>
                </c:pt>
                <c:pt idx="310">
                  <c:v>5.9622355669999997E-3</c:v>
                </c:pt>
                <c:pt idx="311">
                  <c:v>6.7239698310000004E-3</c:v>
                </c:pt>
                <c:pt idx="312">
                  <c:v>6.9077427569999997E-3</c:v>
                </c:pt>
                <c:pt idx="313">
                  <c:v>6.8597395250000002E-3</c:v>
                </c:pt>
                <c:pt idx="314">
                  <c:v>6.5280487220000004E-3</c:v>
                </c:pt>
                <c:pt idx="315">
                  <c:v>7.0121102440000001E-3</c:v>
                </c:pt>
                <c:pt idx="316">
                  <c:v>7.135970801E-3</c:v>
                </c:pt>
                <c:pt idx="317">
                  <c:v>7.0326431849999996E-3</c:v>
                </c:pt>
                <c:pt idx="318">
                  <c:v>6.4454041110000001E-3</c:v>
                </c:pt>
                <c:pt idx="319">
                  <c:v>6.4893802909999996E-3</c:v>
                </c:pt>
                <c:pt idx="320">
                  <c:v>6.422709431E-3</c:v>
                </c:pt>
                <c:pt idx="321">
                  <c:v>6.4948569049999997E-3</c:v>
                </c:pt>
                <c:pt idx="322">
                  <c:v>6.4682007080000001E-3</c:v>
                </c:pt>
                <c:pt idx="323">
                  <c:v>6.4943509710000003E-3</c:v>
                </c:pt>
                <c:pt idx="324">
                  <c:v>6.2954661310000003E-3</c:v>
                </c:pt>
                <c:pt idx="325">
                  <c:v>6.2108803030000003E-3</c:v>
                </c:pt>
                <c:pt idx="326">
                  <c:v>5.8379723410000002E-3</c:v>
                </c:pt>
                <c:pt idx="327">
                  <c:v>5.6110469969999997E-3</c:v>
                </c:pt>
                <c:pt idx="328">
                  <c:v>5.47086547E-3</c:v>
                </c:pt>
                <c:pt idx="329">
                  <c:v>5.2244897950000004E-3</c:v>
                </c:pt>
                <c:pt idx="330">
                  <c:v>4.8799950889999999E-3</c:v>
                </c:pt>
                <c:pt idx="331">
                  <c:v>4.9562592879999999E-3</c:v>
                </c:pt>
                <c:pt idx="332">
                  <c:v>4.8305492170000004E-3</c:v>
                </c:pt>
                <c:pt idx="333">
                  <c:v>4.7998530179999997E-3</c:v>
                </c:pt>
                <c:pt idx="334">
                  <c:v>4.8926525980000002E-3</c:v>
                </c:pt>
                <c:pt idx="335">
                  <c:v>4.5773826099999998E-3</c:v>
                </c:pt>
                <c:pt idx="336">
                  <c:v>4.5548936679999999E-3</c:v>
                </c:pt>
                <c:pt idx="337">
                  <c:v>4.8821987520000004E-3</c:v>
                </c:pt>
                <c:pt idx="338">
                  <c:v>4.6897068340000002E-3</c:v>
                </c:pt>
                <c:pt idx="339">
                  <c:v>4.8172286759999997E-3</c:v>
                </c:pt>
                <c:pt idx="340">
                  <c:v>4.9977391179999997E-3</c:v>
                </c:pt>
                <c:pt idx="341">
                  <c:v>5.1254063540000002E-3</c:v>
                </c:pt>
                <c:pt idx="342">
                  <c:v>5.382625722E-3</c:v>
                </c:pt>
                <c:pt idx="343">
                  <c:v>5.3959304340000002E-3</c:v>
                </c:pt>
                <c:pt idx="344">
                  <c:v>5.3488015610000002E-3</c:v>
                </c:pt>
                <c:pt idx="345">
                  <c:v>5.5527430219999997E-3</c:v>
                </c:pt>
                <c:pt idx="346">
                  <c:v>5.5885045570000002E-3</c:v>
                </c:pt>
                <c:pt idx="347">
                  <c:v>5.5070485509999996E-3</c:v>
                </c:pt>
                <c:pt idx="348">
                  <c:v>5.2786383770000002E-3</c:v>
                </c:pt>
                <c:pt idx="349">
                  <c:v>5.4054905909999996E-3</c:v>
                </c:pt>
                <c:pt idx="350">
                  <c:v>5.708189699E-3</c:v>
                </c:pt>
                <c:pt idx="351">
                  <c:v>5.6062790320000003E-3</c:v>
                </c:pt>
                <c:pt idx="352">
                  <c:v>5.5099105240000003E-3</c:v>
                </c:pt>
                <c:pt idx="353">
                  <c:v>5.4809081690000002E-3</c:v>
                </c:pt>
                <c:pt idx="354">
                  <c:v>5.5022392830000001E-3</c:v>
                </c:pt>
                <c:pt idx="355">
                  <c:v>5.5695508370000001E-3</c:v>
                </c:pt>
                <c:pt idx="356">
                  <c:v>5.6449508560000002E-3</c:v>
                </c:pt>
                <c:pt idx="357">
                  <c:v>5.4531154410000001E-3</c:v>
                </c:pt>
                <c:pt idx="358">
                  <c:v>5.629906344E-3</c:v>
                </c:pt>
                <c:pt idx="359">
                  <c:v>5.9644805819999997E-3</c:v>
                </c:pt>
                <c:pt idx="360">
                  <c:v>6.3220388339999996E-3</c:v>
                </c:pt>
                <c:pt idx="361">
                  <c:v>6.7382007920000001E-3</c:v>
                </c:pt>
                <c:pt idx="362">
                  <c:v>7.0551801219999998E-3</c:v>
                </c:pt>
                <c:pt idx="363">
                  <c:v>7.5233920589999996E-3</c:v>
                </c:pt>
                <c:pt idx="364">
                  <c:v>7.3893370850000003E-3</c:v>
                </c:pt>
                <c:pt idx="365">
                  <c:v>7.2991306000000002E-3</c:v>
                </c:pt>
                <c:pt idx="366">
                  <c:v>7.6511587219999996E-3</c:v>
                </c:pt>
                <c:pt idx="367">
                  <c:v>8.7673171239999997E-3</c:v>
                </c:pt>
                <c:pt idx="368">
                  <c:v>9.3143371149999998E-3</c:v>
                </c:pt>
                <c:pt idx="369">
                  <c:v>9.7102584180000003E-3</c:v>
                </c:pt>
                <c:pt idx="370">
                  <c:v>1.0264656115E-2</c:v>
                </c:pt>
                <c:pt idx="371">
                  <c:v>1.2045539415999999E-2</c:v>
                </c:pt>
                <c:pt idx="372">
                  <c:v>1.3282447334999999E-2</c:v>
                </c:pt>
                <c:pt idx="373">
                  <c:v>1.4353673697E-2</c:v>
                </c:pt>
                <c:pt idx="374">
                  <c:v>1.4705443994999999E-2</c:v>
                </c:pt>
                <c:pt idx="375">
                  <c:v>1.4786267646999999E-2</c:v>
                </c:pt>
                <c:pt idx="376">
                  <c:v>1.4717084318E-2</c:v>
                </c:pt>
                <c:pt idx="377">
                  <c:v>1.6039885165999999E-2</c:v>
                </c:pt>
                <c:pt idx="378">
                  <c:v>1.671391698E-2</c:v>
                </c:pt>
                <c:pt idx="379">
                  <c:v>1.7694183943E-2</c:v>
                </c:pt>
                <c:pt idx="380">
                  <c:v>1.8455464572000001E-2</c:v>
                </c:pt>
                <c:pt idx="381">
                  <c:v>1.7872986454000001E-2</c:v>
                </c:pt>
                <c:pt idx="382">
                  <c:v>1.7760365026000001E-2</c:v>
                </c:pt>
                <c:pt idx="383">
                  <c:v>1.7803786049000001E-2</c:v>
                </c:pt>
                <c:pt idx="384">
                  <c:v>1.8226089082000001E-2</c:v>
                </c:pt>
                <c:pt idx="385">
                  <c:v>1.8200072838999999E-2</c:v>
                </c:pt>
                <c:pt idx="386">
                  <c:v>1.81678259E-2</c:v>
                </c:pt>
                <c:pt idx="387">
                  <c:v>1.7678848622999999E-2</c:v>
                </c:pt>
                <c:pt idx="388">
                  <c:v>1.7440822424E-2</c:v>
                </c:pt>
                <c:pt idx="389">
                  <c:v>1.7997412870999999E-2</c:v>
                </c:pt>
                <c:pt idx="390">
                  <c:v>1.8298993320000002E-2</c:v>
                </c:pt>
                <c:pt idx="391">
                  <c:v>1.8760873176E-2</c:v>
                </c:pt>
                <c:pt idx="392">
                  <c:v>1.8870024015999999E-2</c:v>
                </c:pt>
                <c:pt idx="393">
                  <c:v>1.9454223746000001E-2</c:v>
                </c:pt>
                <c:pt idx="394">
                  <c:v>2.2043613366000001E-2</c:v>
                </c:pt>
                <c:pt idx="395">
                  <c:v>2.4408756420999999E-2</c:v>
                </c:pt>
                <c:pt idx="396">
                  <c:v>2.5578747628000002E-2</c:v>
                </c:pt>
                <c:pt idx="397">
                  <c:v>2.6183016063000001E-2</c:v>
                </c:pt>
                <c:pt idx="398">
                  <c:v>2.6898031321E-2</c:v>
                </c:pt>
                <c:pt idx="399">
                  <c:v>2.9272461805999999E-2</c:v>
                </c:pt>
                <c:pt idx="400">
                  <c:v>3.1509180473999997E-2</c:v>
                </c:pt>
                <c:pt idx="401">
                  <c:v>3.1776587933999997E-2</c:v>
                </c:pt>
                <c:pt idx="402">
                  <c:v>3.240480045E-2</c:v>
                </c:pt>
                <c:pt idx="403">
                  <c:v>3.2673754760999998E-2</c:v>
                </c:pt>
                <c:pt idx="404">
                  <c:v>3.2606825844000001E-2</c:v>
                </c:pt>
                <c:pt idx="405">
                  <c:v>3.5315844063E-2</c:v>
                </c:pt>
                <c:pt idx="406">
                  <c:v>3.6884976138999999E-2</c:v>
                </c:pt>
                <c:pt idx="407">
                  <c:v>3.8200252887999997E-2</c:v>
                </c:pt>
                <c:pt idx="408">
                  <c:v>4.0436002951E-2</c:v>
                </c:pt>
                <c:pt idx="409">
                  <c:v>4.2579349778999999E-2</c:v>
                </c:pt>
                <c:pt idx="410">
                  <c:v>4.3549990481999999E-2</c:v>
                </c:pt>
                <c:pt idx="411">
                  <c:v>4.4552225878999999E-2</c:v>
                </c:pt>
                <c:pt idx="412">
                  <c:v>4.8277653105999997E-2</c:v>
                </c:pt>
                <c:pt idx="413">
                  <c:v>5.3530737209E-2</c:v>
                </c:pt>
                <c:pt idx="414">
                  <c:v>5.8869547005000002E-2</c:v>
                </c:pt>
                <c:pt idx="415">
                  <c:v>6.3217755862E-2</c:v>
                </c:pt>
                <c:pt idx="416">
                  <c:v>6.8317812778000003E-2</c:v>
                </c:pt>
                <c:pt idx="417">
                  <c:v>7.0333814374000006E-2</c:v>
                </c:pt>
                <c:pt idx="418">
                  <c:v>7.1324067300000002E-2</c:v>
                </c:pt>
                <c:pt idx="419">
                  <c:v>7.3313797360999994E-2</c:v>
                </c:pt>
                <c:pt idx="420">
                  <c:v>7.5345505403000002E-2</c:v>
                </c:pt>
                <c:pt idx="421">
                  <c:v>7.5149066580999999E-2</c:v>
                </c:pt>
                <c:pt idx="422">
                  <c:v>7.8004042571999999E-2</c:v>
                </c:pt>
                <c:pt idx="423">
                  <c:v>8.1702066830999995E-2</c:v>
                </c:pt>
                <c:pt idx="424">
                  <c:v>8.6221981500999995E-2</c:v>
                </c:pt>
                <c:pt idx="425">
                  <c:v>8.6033779182999995E-2</c:v>
                </c:pt>
                <c:pt idx="426">
                  <c:v>9.1481738776999999E-2</c:v>
                </c:pt>
                <c:pt idx="427">
                  <c:v>0.103317995612</c:v>
                </c:pt>
                <c:pt idx="428">
                  <c:v>0.122138712757</c:v>
                </c:pt>
                <c:pt idx="429">
                  <c:v>0.131898103603</c:v>
                </c:pt>
                <c:pt idx="430">
                  <c:v>0.142618880655</c:v>
                </c:pt>
                <c:pt idx="431">
                  <c:v>0.14386165869100001</c:v>
                </c:pt>
                <c:pt idx="432">
                  <c:v>0.147004966032</c:v>
                </c:pt>
                <c:pt idx="433">
                  <c:v>0.15280739685700001</c:v>
                </c:pt>
                <c:pt idx="434">
                  <c:v>0.15955482287</c:v>
                </c:pt>
                <c:pt idx="435">
                  <c:v>0.161132335525</c:v>
                </c:pt>
                <c:pt idx="436">
                  <c:v>0.15735839613200001</c:v>
                </c:pt>
                <c:pt idx="437">
                  <c:v>0.15813985693900001</c:v>
                </c:pt>
                <c:pt idx="438">
                  <c:v>0.16111579083700001</c:v>
                </c:pt>
                <c:pt idx="439">
                  <c:v>0.16315638832099999</c:v>
                </c:pt>
                <c:pt idx="440">
                  <c:v>0.161869801226</c:v>
                </c:pt>
                <c:pt idx="441">
                  <c:v>0.16650784207300001</c:v>
                </c:pt>
                <c:pt idx="442">
                  <c:v>0.16864421121600001</c:v>
                </c:pt>
                <c:pt idx="443">
                  <c:v>0.172162744324</c:v>
                </c:pt>
                <c:pt idx="444">
                  <c:v>0.182844522377</c:v>
                </c:pt>
                <c:pt idx="445">
                  <c:v>0.187558817525</c:v>
                </c:pt>
                <c:pt idx="446">
                  <c:v>0.18919861140399999</c:v>
                </c:pt>
                <c:pt idx="447">
                  <c:v>0.19262764717600001</c:v>
                </c:pt>
                <c:pt idx="448">
                  <c:v>0.19895545872000001</c:v>
                </c:pt>
                <c:pt idx="449">
                  <c:v>0.192938822708</c:v>
                </c:pt>
                <c:pt idx="450">
                  <c:v>0.20271315602100001</c:v>
                </c:pt>
                <c:pt idx="451">
                  <c:v>0.20293839076299999</c:v>
                </c:pt>
                <c:pt idx="452">
                  <c:v>0.20142537430900001</c:v>
                </c:pt>
                <c:pt idx="453">
                  <c:v>0.20145449586899999</c:v>
                </c:pt>
                <c:pt idx="454">
                  <c:v>0.20474369885999999</c:v>
                </c:pt>
                <c:pt idx="455">
                  <c:v>0.19929587218399999</c:v>
                </c:pt>
                <c:pt idx="456">
                  <c:v>0.20680879928400001</c:v>
                </c:pt>
                <c:pt idx="457">
                  <c:v>0.20041218548699999</c:v>
                </c:pt>
                <c:pt idx="458">
                  <c:v>0.19730014152399999</c:v>
                </c:pt>
                <c:pt idx="459">
                  <c:v>0.19581976965</c:v>
                </c:pt>
                <c:pt idx="460">
                  <c:v>0.19442575972500001</c:v>
                </c:pt>
                <c:pt idx="461">
                  <c:v>0.19137776463299999</c:v>
                </c:pt>
                <c:pt idx="462">
                  <c:v>0.189560735117</c:v>
                </c:pt>
                <c:pt idx="463">
                  <c:v>0.185424855932</c:v>
                </c:pt>
                <c:pt idx="464">
                  <c:v>0.18169329907500001</c:v>
                </c:pt>
                <c:pt idx="465">
                  <c:v>0.176423856942</c:v>
                </c:pt>
                <c:pt idx="466">
                  <c:v>0.17505771801200001</c:v>
                </c:pt>
                <c:pt idx="467">
                  <c:v>0.17469854694699999</c:v>
                </c:pt>
                <c:pt idx="468">
                  <c:v>0.17011385051399999</c:v>
                </c:pt>
                <c:pt idx="469">
                  <c:v>0.16718587473099999</c:v>
                </c:pt>
                <c:pt idx="470">
                  <c:v>0.16260919453100001</c:v>
                </c:pt>
                <c:pt idx="471">
                  <c:v>0.15652433496199999</c:v>
                </c:pt>
                <c:pt idx="472">
                  <c:v>0.15287231454200001</c:v>
                </c:pt>
                <c:pt idx="473">
                  <c:v>0.15041284523099999</c:v>
                </c:pt>
                <c:pt idx="474">
                  <c:v>0.14972750270999999</c:v>
                </c:pt>
                <c:pt idx="475">
                  <c:v>0.14691101342499999</c:v>
                </c:pt>
                <c:pt idx="476">
                  <c:v>0.141523662637</c:v>
                </c:pt>
                <c:pt idx="477">
                  <c:v>0.134556912517</c:v>
                </c:pt>
                <c:pt idx="478">
                  <c:v>0.13065857114900001</c:v>
                </c:pt>
                <c:pt idx="479">
                  <c:v>0.12991853390399999</c:v>
                </c:pt>
                <c:pt idx="480">
                  <c:v>0.12789033119000001</c:v>
                </c:pt>
                <c:pt idx="481">
                  <c:v>0.126174340478</c:v>
                </c:pt>
                <c:pt idx="482">
                  <c:v>0.12717997964800001</c:v>
                </c:pt>
                <c:pt idx="483">
                  <c:v>0.124955969998</c:v>
                </c:pt>
                <c:pt idx="484">
                  <c:v>0.129876019004</c:v>
                </c:pt>
                <c:pt idx="485">
                  <c:v>0.140380089432</c:v>
                </c:pt>
                <c:pt idx="486">
                  <c:v>0.144159604089</c:v>
                </c:pt>
                <c:pt idx="487">
                  <c:v>0.14618603659599999</c:v>
                </c:pt>
                <c:pt idx="488">
                  <c:v>0.14566457741899999</c:v>
                </c:pt>
                <c:pt idx="489">
                  <c:v>0.14080755745599999</c:v>
                </c:pt>
                <c:pt idx="490">
                  <c:v>0.138309063728</c:v>
                </c:pt>
                <c:pt idx="491">
                  <c:v>0.137645895347</c:v>
                </c:pt>
                <c:pt idx="492">
                  <c:v>0.13073481075000001</c:v>
                </c:pt>
                <c:pt idx="493">
                  <c:v>0.122335530406</c:v>
                </c:pt>
                <c:pt idx="494">
                  <c:v>0.120415816678</c:v>
                </c:pt>
                <c:pt idx="495">
                  <c:v>0.121107581605</c:v>
                </c:pt>
                <c:pt idx="496">
                  <c:v>0.116439261977</c:v>
                </c:pt>
                <c:pt idx="497">
                  <c:v>0.118580074199</c:v>
                </c:pt>
                <c:pt idx="498">
                  <c:v>0.123483802295</c:v>
                </c:pt>
                <c:pt idx="499">
                  <c:v>0.131363504273</c:v>
                </c:pt>
                <c:pt idx="500">
                  <c:v>0.14202790482399999</c:v>
                </c:pt>
                <c:pt idx="501">
                  <c:v>0.14749532474900001</c:v>
                </c:pt>
                <c:pt idx="502">
                  <c:v>0.15321468365099999</c:v>
                </c:pt>
                <c:pt idx="503">
                  <c:v>0.16899683583</c:v>
                </c:pt>
                <c:pt idx="504">
                  <c:v>0.18814724144700001</c:v>
                </c:pt>
                <c:pt idx="505">
                  <c:v>0.202924499387</c:v>
                </c:pt>
                <c:pt idx="506">
                  <c:v>0.213901421659</c:v>
                </c:pt>
                <c:pt idx="507">
                  <c:v>0.21997022118500001</c:v>
                </c:pt>
                <c:pt idx="508">
                  <c:v>0.22456390467500001</c:v>
                </c:pt>
                <c:pt idx="509">
                  <c:v>0.22670330763800001</c:v>
                </c:pt>
                <c:pt idx="510">
                  <c:v>0.232419193458</c:v>
                </c:pt>
                <c:pt idx="511">
                  <c:v>0.23646791174199999</c:v>
                </c:pt>
                <c:pt idx="512">
                  <c:v>0.25853697994500002</c:v>
                </c:pt>
                <c:pt idx="513">
                  <c:v>0.25852671748900002</c:v>
                </c:pt>
                <c:pt idx="514">
                  <c:v>0.272602301027</c:v>
                </c:pt>
                <c:pt idx="515">
                  <c:v>0.26730580508700003</c:v>
                </c:pt>
                <c:pt idx="516">
                  <c:v>0.275772454512</c:v>
                </c:pt>
                <c:pt idx="517">
                  <c:v>0.27554221478599999</c:v>
                </c:pt>
                <c:pt idx="518">
                  <c:v>0.29122307234</c:v>
                </c:pt>
                <c:pt idx="519">
                  <c:v>0.28190844751100003</c:v>
                </c:pt>
                <c:pt idx="520">
                  <c:v>0.28729683148099999</c:v>
                </c:pt>
                <c:pt idx="521">
                  <c:v>0.27739329281800001</c:v>
                </c:pt>
                <c:pt idx="522">
                  <c:v>0.29452278890200001</c:v>
                </c:pt>
                <c:pt idx="523">
                  <c:v>0.28498448217200001</c:v>
                </c:pt>
                <c:pt idx="524">
                  <c:v>0.29216771039900002</c:v>
                </c:pt>
                <c:pt idx="525">
                  <c:v>0.28350608260900001</c:v>
                </c:pt>
                <c:pt idx="526">
                  <c:v>0.28183280595299998</c:v>
                </c:pt>
                <c:pt idx="527">
                  <c:v>0.27996233872600002</c:v>
                </c:pt>
                <c:pt idx="528">
                  <c:v>0.28727757621400002</c:v>
                </c:pt>
                <c:pt idx="529">
                  <c:v>0.27799412010800001</c:v>
                </c:pt>
                <c:pt idx="530">
                  <c:v>0.280580921215</c:v>
                </c:pt>
                <c:pt idx="531">
                  <c:v>0.27663818800399997</c:v>
                </c:pt>
                <c:pt idx="532">
                  <c:v>0.27441544111999999</c:v>
                </c:pt>
                <c:pt idx="533">
                  <c:v>0.26575179763700002</c:v>
                </c:pt>
                <c:pt idx="534">
                  <c:v>0.26590273667800002</c:v>
                </c:pt>
                <c:pt idx="535">
                  <c:v>0.26238308226000001</c:v>
                </c:pt>
                <c:pt idx="536">
                  <c:v>0.26374471500000002</c:v>
                </c:pt>
                <c:pt idx="537">
                  <c:v>0.26233848760799999</c:v>
                </c:pt>
                <c:pt idx="538">
                  <c:v>0.273273348433</c:v>
                </c:pt>
                <c:pt idx="539">
                  <c:v>0.26493783005100002</c:v>
                </c:pt>
                <c:pt idx="540">
                  <c:v>0.26457926027400003</c:v>
                </c:pt>
                <c:pt idx="541">
                  <c:v>0.26814669713700001</c:v>
                </c:pt>
                <c:pt idx="542">
                  <c:v>0.274279022451</c:v>
                </c:pt>
                <c:pt idx="543">
                  <c:v>0.27500369786000001</c:v>
                </c:pt>
                <c:pt idx="544">
                  <c:v>0.27587571118100002</c:v>
                </c:pt>
                <c:pt idx="545">
                  <c:v>0.271352458214</c:v>
                </c:pt>
                <c:pt idx="546">
                  <c:v>0.270959413122</c:v>
                </c:pt>
                <c:pt idx="547">
                  <c:v>0.27151376440199998</c:v>
                </c:pt>
                <c:pt idx="548">
                  <c:v>0.27345244514</c:v>
                </c:pt>
                <c:pt idx="549">
                  <c:v>0.27497460209899999</c:v>
                </c:pt>
                <c:pt idx="550">
                  <c:v>0.27778205799799999</c:v>
                </c:pt>
                <c:pt idx="551">
                  <c:v>0.28177067120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</c:dateAx>
      <c:valAx>
        <c:axId val="298003536"/>
        <c:scaling>
          <c:orientation val="minMax"/>
        </c:scaling>
        <c:delete val="0"/>
        <c:axPos val="l"/>
        <c:majorGridlines>
          <c:spPr>
            <a:ln>
              <a:solidFill>
                <a:srgbClr val="FFFFFF">
                  <a:lumMod val="85000"/>
                </a:srgbClr>
              </a:solidFill>
            </a:ln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cs-CZ"/>
    </a:p>
  </c:tx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5C4A8F-A82D-407A-AC26-9CAB5D726B24}" type="datetimeFigureOut">
              <a:rPr lang="cs-CZ" smtClean="0"/>
              <a:t>06.03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B10D70-F12B-49DD-A20E-5FC09239783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3265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.sv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1382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95459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76569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7166835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461243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6.03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240449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6.03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150867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5313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199946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78631727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60244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08444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6.03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63226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44530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08683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6.03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932071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41377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34749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215245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20329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06.03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34808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160263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6.03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644172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chart" Target="../charts/chart12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chart" Target="../charts/chart11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3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chart" Target="../charts/chart14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chart" Target="../charts/chart13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4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chart" Target="../charts/chart16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chart" Target="../charts/chart15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4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chart" Target="../charts/chart1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chart" Target="../charts/chart17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4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chart" Target="../charts/chart20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chart" Target="../charts/chart19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5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chart" Target="../charts/chart22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chart" Target="../charts/chart21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5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7" Type="http://schemas.openxmlformats.org/officeDocument/2006/relationships/chart" Target="../charts/chart24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chart" Target="../charts/chart23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6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7" Type="http://schemas.openxmlformats.org/officeDocument/2006/relationships/chart" Target="../charts/chart26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chart" Target="../charts/chart25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6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7" Type="http://schemas.openxmlformats.org/officeDocument/2006/relationships/chart" Target="../charts/chart28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chart" Target="../charts/chart27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6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7" Type="http://schemas.openxmlformats.org/officeDocument/2006/relationships/chart" Target="../charts/chart30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chart" Target="../charts/chart29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7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slideLayout" Target="../slideLayouts/slideLayout20.xml"/><Relationship Id="rId4" Type="http://schemas.openxmlformats.org/officeDocument/2006/relationships/tags" Target="../tags/tag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7" Type="http://schemas.openxmlformats.org/officeDocument/2006/relationships/chart" Target="../charts/chart32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chart" Target="../charts/chart31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7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7" Type="http://schemas.openxmlformats.org/officeDocument/2006/relationships/chart" Target="../charts/chart34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chart" Target="../charts/chart33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8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7" Type="http://schemas.openxmlformats.org/officeDocument/2006/relationships/chart" Target="../charts/chart36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chart" Target="../charts/chart35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8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7" Type="http://schemas.openxmlformats.org/officeDocument/2006/relationships/chart" Target="../charts/chart38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chart" Target="../charts/chart37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8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slideLayout" Target="../slideLayouts/slideLayout20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chart" Target="../charts/chart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chart" Target="../charts/chart1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chart" Target="../charts/chart4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chart" Target="../charts/chart3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2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chart" Target="../charts/chart6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chart" Target="../charts/chart5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2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chart" Target="../charts/chart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chart" Target="../charts/chart7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2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chart" Target="../charts/chart10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chart" Target="../charts/chart9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0" y="3828910"/>
            <a:ext cx="12192000" cy="2236911"/>
          </a:xfrm>
        </p:spPr>
        <p:txBody>
          <a:bodyPr>
            <a:normAutofit lnSpcReduction="10000"/>
          </a:bodyPr>
          <a:lstStyle/>
          <a:p>
            <a:r>
              <a:rPr lang="cs-CZ" sz="5200" b="1" i="1" dirty="0"/>
              <a:t>Rizikové faktory a vybrané prediktory vývoje epidemie  </a:t>
            </a:r>
          </a:p>
          <a:p>
            <a:r>
              <a:rPr lang="cs-CZ" sz="5200" b="1" i="1" dirty="0"/>
              <a:t>Data k 6.3.2022</a:t>
            </a:r>
            <a:endParaRPr lang="cs-CZ" sz="4200" i="1" dirty="0"/>
          </a:p>
        </p:txBody>
      </p:sp>
    </p:spTree>
    <p:extLst>
      <p:ext uri="{BB962C8B-B14F-4D97-AF65-F5344CB8AC3E}">
        <p14:creationId xmlns:p14="http://schemas.microsoft.com/office/powerpoint/2010/main" val="23007466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881058" cy="576000"/>
          </a:xfrm>
        </p:spPr>
        <p:txBody>
          <a:bodyPr/>
          <a:lstStyle/>
          <a:p>
            <a:r>
              <a:rPr lang="cs-CZ" sz="1800" dirty="0"/>
              <a:t>7denní relativní pozitivita (dg. + </a:t>
            </a:r>
            <a:r>
              <a:rPr lang="cs-CZ" sz="1800" dirty="0" err="1"/>
              <a:t>epi</a:t>
            </a:r>
            <a:r>
              <a:rPr lang="cs-CZ" sz="1800" dirty="0"/>
              <a:t>.) indikovaných testů 65+</a:t>
            </a:r>
            <a:endParaRPr lang="cs-CZ" sz="1800" dirty="0">
              <a:solidFill>
                <a:srgbClr val="00FF00"/>
              </a:solidFill>
            </a:endParaRP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06937148"/>
              </p:ext>
            </p:extLst>
          </p:nvPr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>
                <a:solidFill>
                  <a:prstClr val="black"/>
                </a:solidFill>
                <a:latin typeface="Arial" panose="020B0604020202020204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59ED2783-69D3-4D22-8B2F-91383DFC8F1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B2C22C8-9D6B-43C2-AD6A-4B6ABC47E7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86446598"/>
              </p:ext>
            </p:extLst>
          </p:nvPr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ABDE640E-E280-456B-B841-9FE667CF66C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900" i="1" dirty="0"/>
              <a:t>Výpočet srovnává</a:t>
            </a:r>
            <a:r>
              <a:rPr lang="cs-CZ" sz="900" i="1" baseline="0" dirty="0"/>
              <a:t> hodnotu indikátoru v daný den s obdobnou hodnotou před týdnem, rozdíl je vyjádřen v % hodnoty před týdnem.</a:t>
            </a:r>
            <a:endParaRPr lang="cs-CZ" sz="900" i="1" dirty="0"/>
          </a:p>
        </p:txBody>
      </p:sp>
    </p:spTree>
    <p:extLst>
      <p:ext uri="{BB962C8B-B14F-4D97-AF65-F5344CB8AC3E}">
        <p14:creationId xmlns:p14="http://schemas.microsoft.com/office/powerpoint/2010/main" val="12112896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881058" cy="576000"/>
          </a:xfrm>
        </p:spPr>
        <p:txBody>
          <a:bodyPr/>
          <a:lstStyle/>
          <a:p>
            <a:r>
              <a:rPr lang="cs-CZ" sz="1800" dirty="0"/>
              <a:t>7denní počet (suma) symptomatických případů / 100 tisíc obyvatel</a:t>
            </a:r>
            <a:endParaRPr lang="cs-CZ" sz="1800" dirty="0">
              <a:solidFill>
                <a:srgbClr val="00FF00"/>
              </a:solidFill>
            </a:endParaRP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37291497"/>
              </p:ext>
            </p:extLst>
          </p:nvPr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>
                <a:solidFill>
                  <a:prstClr val="black"/>
                </a:solidFill>
                <a:latin typeface="Arial" panose="020B0604020202020204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59ED2783-69D3-4D22-8B2F-91383DFC8F1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B2C22C8-9D6B-43C2-AD6A-4B6ABC47E7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5994500"/>
              </p:ext>
            </p:extLst>
          </p:nvPr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52BF5836-F8A0-4759-A341-F660C6A91C8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900" i="1" dirty="0"/>
              <a:t>Výpočet srovnává</a:t>
            </a:r>
            <a:r>
              <a:rPr lang="cs-CZ" sz="900" i="1" baseline="0" dirty="0"/>
              <a:t> hodnotu indikátoru v daný den s obdobnou hodnotou před týdnem, rozdíl je vyjádřen v % hodnoty před týdnem.</a:t>
            </a:r>
            <a:endParaRPr lang="cs-CZ" sz="900" i="1" dirty="0"/>
          </a:p>
        </p:txBody>
      </p:sp>
    </p:spTree>
    <p:extLst>
      <p:ext uri="{BB962C8B-B14F-4D97-AF65-F5344CB8AC3E}">
        <p14:creationId xmlns:p14="http://schemas.microsoft.com/office/powerpoint/2010/main" val="22986060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881058" cy="576000"/>
          </a:xfrm>
        </p:spPr>
        <p:txBody>
          <a:bodyPr/>
          <a:lstStyle/>
          <a:p>
            <a:r>
              <a:rPr lang="cs-CZ" sz="1800" dirty="0"/>
              <a:t>7denní hodnota R</a:t>
            </a:r>
            <a:endParaRPr lang="cs-CZ" sz="1800" dirty="0">
              <a:solidFill>
                <a:srgbClr val="00FF00"/>
              </a:solidFill>
            </a:endParaRP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51106206"/>
              </p:ext>
            </p:extLst>
          </p:nvPr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>
                <a:solidFill>
                  <a:prstClr val="black"/>
                </a:solidFill>
                <a:latin typeface="Arial" panose="020B0604020202020204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59ED2783-69D3-4D22-8B2F-91383DFC8F1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B2C22C8-9D6B-43C2-AD6A-4B6ABC47E7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87361123"/>
              </p:ext>
            </p:extLst>
          </p:nvPr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37A159AA-3119-48B8-A208-C4EB3CF8845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3848592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900" i="1" dirty="0"/>
              <a:t>Výpočet srovnává</a:t>
            </a:r>
            <a:r>
              <a:rPr lang="cs-CZ" sz="900" i="1" baseline="0" dirty="0"/>
              <a:t> hodnotu indikátoru v daný den s obdobnou hodnotou před týdnem, rozdíl je vyjádřen v % hodnoty před týdnem.</a:t>
            </a:r>
            <a:endParaRPr lang="cs-CZ" sz="900" i="1" dirty="0"/>
          </a:p>
        </p:txBody>
      </p:sp>
    </p:spTree>
    <p:extLst>
      <p:ext uri="{BB962C8B-B14F-4D97-AF65-F5344CB8AC3E}">
        <p14:creationId xmlns:p14="http://schemas.microsoft.com/office/powerpoint/2010/main" val="35996982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881058" cy="576000"/>
          </a:xfrm>
        </p:spPr>
        <p:txBody>
          <a:bodyPr/>
          <a:lstStyle/>
          <a:p>
            <a:r>
              <a:rPr lang="cs-CZ" sz="1800" dirty="0"/>
              <a:t>7denní počet nových příjmů do nemocnic / 100 tisíc obyvatel</a:t>
            </a:r>
            <a:endParaRPr lang="cs-CZ" sz="1800" dirty="0">
              <a:solidFill>
                <a:srgbClr val="00FF00"/>
              </a:solidFill>
            </a:endParaRP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73630451"/>
              </p:ext>
            </p:extLst>
          </p:nvPr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>
                <a:solidFill>
                  <a:prstClr val="black"/>
                </a:solidFill>
                <a:latin typeface="Arial" panose="020B0604020202020204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59ED2783-69D3-4D22-8B2F-91383DFC8F1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B2C22C8-9D6B-43C2-AD6A-4B6ABC47E7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2663267"/>
              </p:ext>
            </p:extLst>
          </p:nvPr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343FD679-6410-4453-94EF-7E2EFD91FB8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900" i="1" dirty="0"/>
              <a:t>Výpočet srovnává</a:t>
            </a:r>
            <a:r>
              <a:rPr lang="cs-CZ" sz="900" i="1" baseline="0" dirty="0"/>
              <a:t> hodnotu indikátoru v daný den s obdobnou hodnotou před týdnem, rozdíl je vyjádřen v % hodnoty před týdnem.</a:t>
            </a:r>
            <a:endParaRPr lang="cs-CZ" sz="900" i="1" dirty="0"/>
          </a:p>
        </p:txBody>
      </p:sp>
    </p:spTree>
    <p:extLst>
      <p:ext uri="{BB962C8B-B14F-4D97-AF65-F5344CB8AC3E}">
        <p14:creationId xmlns:p14="http://schemas.microsoft.com/office/powerpoint/2010/main" val="4219768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881058" cy="576000"/>
          </a:xfrm>
        </p:spPr>
        <p:txBody>
          <a:bodyPr/>
          <a:lstStyle/>
          <a:p>
            <a:r>
              <a:rPr lang="cs-CZ" sz="1800" dirty="0"/>
              <a:t>7denní počet nových příjmů na JIP (včetně překladů) / 100 tisíc obyv.</a:t>
            </a:r>
            <a:endParaRPr lang="cs-CZ" sz="1800" dirty="0">
              <a:solidFill>
                <a:srgbClr val="00FF00"/>
              </a:solidFill>
            </a:endParaRP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20686173"/>
              </p:ext>
            </p:extLst>
          </p:nvPr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>
                <a:solidFill>
                  <a:prstClr val="black"/>
                </a:solidFill>
                <a:latin typeface="Arial" panose="020B0604020202020204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59ED2783-69D3-4D22-8B2F-91383DFC8F1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B2C22C8-9D6B-43C2-AD6A-4B6ABC47E7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79132209"/>
              </p:ext>
            </p:extLst>
          </p:nvPr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746FB2D5-6186-4AFB-85CB-FA82DE72497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900" i="1" dirty="0"/>
              <a:t>Výpočet srovnává</a:t>
            </a:r>
            <a:r>
              <a:rPr lang="cs-CZ" sz="900" i="1" baseline="0" dirty="0"/>
              <a:t> hodnotu indikátoru v daný den s obdobnou hodnotou před týdnem, rozdíl je vyjádřen v % hodnoty před týdnem.</a:t>
            </a:r>
            <a:endParaRPr lang="cs-CZ" sz="900" i="1" dirty="0"/>
          </a:p>
        </p:txBody>
      </p:sp>
    </p:spTree>
    <p:extLst>
      <p:ext uri="{BB962C8B-B14F-4D97-AF65-F5344CB8AC3E}">
        <p14:creationId xmlns:p14="http://schemas.microsoft.com/office/powerpoint/2010/main" val="307844532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881058" cy="576000"/>
          </a:xfrm>
        </p:spPr>
        <p:txBody>
          <a:bodyPr/>
          <a:lstStyle/>
          <a:p>
            <a:r>
              <a:rPr lang="cs-CZ" sz="1400" dirty="0"/>
              <a:t>7denní počet nových hospitalizací na JIP / 7denní počet všech nových hospitalizací (v %)</a:t>
            </a:r>
            <a:endParaRPr lang="cs-CZ" sz="1400" dirty="0">
              <a:solidFill>
                <a:srgbClr val="00FF00"/>
              </a:solidFill>
            </a:endParaRP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35167595"/>
              </p:ext>
            </p:extLst>
          </p:nvPr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>
                <a:solidFill>
                  <a:prstClr val="black"/>
                </a:solidFill>
                <a:latin typeface="Arial" panose="020B0604020202020204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59ED2783-69D3-4D22-8B2F-91383DFC8F1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B2C22C8-9D6B-43C2-AD6A-4B6ABC47E7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12266313"/>
              </p:ext>
            </p:extLst>
          </p:nvPr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29EA93F3-B5FC-4A87-B8FF-AF153AB62DA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900" i="1" dirty="0"/>
              <a:t>Výpočet srovnává</a:t>
            </a:r>
            <a:r>
              <a:rPr lang="cs-CZ" sz="900" i="1" baseline="0" dirty="0"/>
              <a:t> hodnotu indikátoru v daný den s obdobnou hodnotou před týdnem, rozdíl je vyjádřen v % hodnoty před týdnem.</a:t>
            </a:r>
            <a:endParaRPr lang="cs-CZ" sz="900" i="1" dirty="0"/>
          </a:p>
        </p:txBody>
      </p:sp>
    </p:spTree>
    <p:extLst>
      <p:ext uri="{BB962C8B-B14F-4D97-AF65-F5344CB8AC3E}">
        <p14:creationId xmlns:p14="http://schemas.microsoft.com/office/powerpoint/2010/main" val="56034060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881058" cy="576000"/>
          </a:xfrm>
        </p:spPr>
        <p:txBody>
          <a:bodyPr/>
          <a:lstStyle/>
          <a:p>
            <a:r>
              <a:rPr lang="cs-CZ" sz="1550" dirty="0"/>
              <a:t>7denní počet případů, hospitalizovaných do 3 dnů od pozitivity / 100 tisíc obyvatel</a:t>
            </a:r>
            <a:endParaRPr lang="cs-CZ" sz="1550" dirty="0">
              <a:solidFill>
                <a:srgbClr val="00FF00"/>
              </a:solidFill>
            </a:endParaRP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38402934"/>
              </p:ext>
            </p:extLst>
          </p:nvPr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>
                <a:solidFill>
                  <a:prstClr val="black"/>
                </a:solidFill>
                <a:latin typeface="Arial" panose="020B0604020202020204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59ED2783-69D3-4D22-8B2F-91383DFC8F1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B2C22C8-9D6B-43C2-AD6A-4B6ABC47E7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44361438"/>
              </p:ext>
            </p:extLst>
          </p:nvPr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B59398FE-6B15-42A1-BC12-8BC1F93CC13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900" i="1" dirty="0"/>
              <a:t>Výpočet srovnává</a:t>
            </a:r>
            <a:r>
              <a:rPr lang="cs-CZ" sz="900" i="1" baseline="0" dirty="0"/>
              <a:t> hodnotu indikátoru v daný den s obdobnou hodnotou před týdnem, rozdíl je vyjádřen v % hodnoty před týdnem.</a:t>
            </a:r>
            <a:endParaRPr lang="cs-CZ" sz="900" i="1" dirty="0"/>
          </a:p>
        </p:txBody>
      </p:sp>
    </p:spTree>
    <p:extLst>
      <p:ext uri="{BB962C8B-B14F-4D97-AF65-F5344CB8AC3E}">
        <p14:creationId xmlns:p14="http://schemas.microsoft.com/office/powerpoint/2010/main" val="154952215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881058" cy="576000"/>
          </a:xfrm>
        </p:spPr>
        <p:txBody>
          <a:bodyPr/>
          <a:lstStyle/>
          <a:p>
            <a:r>
              <a:rPr lang="cs-CZ" sz="1550" dirty="0"/>
              <a:t>7denní počet případů, hospitalizovaných do 7 dnů od pozitivity / 100 tisíc obyvatel</a:t>
            </a:r>
            <a:endParaRPr lang="cs-CZ" sz="1550" dirty="0">
              <a:solidFill>
                <a:srgbClr val="00FF00"/>
              </a:solidFill>
            </a:endParaRP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57721255"/>
              </p:ext>
            </p:extLst>
          </p:nvPr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>
                <a:solidFill>
                  <a:prstClr val="black"/>
                </a:solidFill>
                <a:latin typeface="Arial" panose="020B0604020202020204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59ED2783-69D3-4D22-8B2F-91383DFC8F1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B2C22C8-9D6B-43C2-AD6A-4B6ABC47E7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75993184"/>
              </p:ext>
            </p:extLst>
          </p:nvPr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146017EF-249F-4785-BC94-FA2D6618D8C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900" i="1" dirty="0"/>
              <a:t>Výpočet srovnává</a:t>
            </a:r>
            <a:r>
              <a:rPr lang="cs-CZ" sz="900" i="1" baseline="0" dirty="0"/>
              <a:t> hodnotu indikátoru v daný den s obdobnou hodnotou před týdnem, rozdíl je vyjádřen v % hodnoty před týdnem.</a:t>
            </a:r>
            <a:endParaRPr lang="cs-CZ" sz="900" i="1" dirty="0"/>
          </a:p>
        </p:txBody>
      </p:sp>
    </p:spTree>
    <p:extLst>
      <p:ext uri="{BB962C8B-B14F-4D97-AF65-F5344CB8AC3E}">
        <p14:creationId xmlns:p14="http://schemas.microsoft.com/office/powerpoint/2010/main" val="286803437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881058" cy="576000"/>
          </a:xfrm>
        </p:spPr>
        <p:txBody>
          <a:bodyPr/>
          <a:lstStyle/>
          <a:p>
            <a:r>
              <a:rPr lang="cs-CZ" sz="1400" dirty="0"/>
              <a:t>7denní počet případů, hospitalizovaných na JIP </a:t>
            </a:r>
            <a:r>
              <a:rPr lang="en-US" sz="1400" dirty="0"/>
              <a:t>v den </a:t>
            </a:r>
            <a:r>
              <a:rPr lang="cs-CZ" sz="1400" dirty="0"/>
              <a:t>pozitivity / 100 tisíc obyvatel</a:t>
            </a:r>
            <a:endParaRPr lang="cs-CZ" sz="1400" dirty="0">
              <a:solidFill>
                <a:srgbClr val="00FF00"/>
              </a:solidFill>
            </a:endParaRP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7C73A03D-02FD-4EE0-99B7-A9E50F88E66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92941519"/>
              </p:ext>
            </p:extLst>
          </p:nvPr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" name="TextBox 14">
            <a:extLst>
              <a:ext uri="{FF2B5EF4-FFF2-40B4-BE49-F238E27FC236}">
                <a16:creationId xmlns:a16="http://schemas.microsoft.com/office/drawing/2014/main" id="{0A249515-A4ED-4845-A0D5-7D35224904F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>
                <a:solidFill>
                  <a:prstClr val="black"/>
                </a:solidFill>
                <a:latin typeface="Arial" panose="020B0604020202020204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14" name="TextBox 14">
            <a:extLst>
              <a:ext uri="{FF2B5EF4-FFF2-40B4-BE49-F238E27FC236}">
                <a16:creationId xmlns:a16="http://schemas.microsoft.com/office/drawing/2014/main" id="{CAFC2DD2-8D68-4E25-A239-1B7D8358EB7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15" name="Chart 11">
            <a:extLst>
              <a:ext uri="{FF2B5EF4-FFF2-40B4-BE49-F238E27FC236}">
                <a16:creationId xmlns:a16="http://schemas.microsoft.com/office/drawing/2014/main" id="{C777C83A-7EC6-4EBF-AC56-192E2308183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23122326"/>
              </p:ext>
            </p:extLst>
          </p:nvPr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6" name="TextBox 6">
            <a:extLst>
              <a:ext uri="{FF2B5EF4-FFF2-40B4-BE49-F238E27FC236}">
                <a16:creationId xmlns:a16="http://schemas.microsoft.com/office/drawing/2014/main" id="{31DCCF15-8D32-4CC1-9851-768A374556C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900" i="1" dirty="0"/>
              <a:t>Výpočet srovnává</a:t>
            </a:r>
            <a:r>
              <a:rPr lang="cs-CZ" sz="900" i="1" baseline="0" dirty="0"/>
              <a:t> hodnotu indikátoru v daný den s obdobnou hodnotou před týdnem, rozdíl je vyjádřen v % hodnoty před týdnem.</a:t>
            </a:r>
            <a:endParaRPr lang="cs-CZ" sz="900" i="1" dirty="0"/>
          </a:p>
        </p:txBody>
      </p:sp>
    </p:spTree>
    <p:extLst>
      <p:ext uri="{BB962C8B-B14F-4D97-AF65-F5344CB8AC3E}">
        <p14:creationId xmlns:p14="http://schemas.microsoft.com/office/powerpoint/2010/main" val="355750892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881058" cy="576000"/>
          </a:xfrm>
        </p:spPr>
        <p:txBody>
          <a:bodyPr/>
          <a:lstStyle/>
          <a:p>
            <a:r>
              <a:rPr lang="cs-CZ" sz="1400" dirty="0"/>
              <a:t>7denní počet případů, hospitalizovaných na JIP </a:t>
            </a:r>
            <a:r>
              <a:rPr lang="en-US" sz="1400" dirty="0"/>
              <a:t>v den </a:t>
            </a:r>
            <a:r>
              <a:rPr lang="cs-CZ" sz="1400" dirty="0"/>
              <a:t>pozitivity </a:t>
            </a:r>
            <a:r>
              <a:rPr lang="en-US" sz="1400" dirty="0"/>
              <a:t>v % v</a:t>
            </a:r>
            <a:r>
              <a:rPr lang="cs-CZ" sz="1400" dirty="0"/>
              <a:t>šech pozitivních</a:t>
            </a:r>
            <a:endParaRPr lang="cs-CZ" sz="1400" dirty="0">
              <a:solidFill>
                <a:srgbClr val="00FF00"/>
              </a:solidFill>
            </a:endParaRPr>
          </a:p>
        </p:txBody>
      </p:sp>
      <p:graphicFrame>
        <p:nvGraphicFramePr>
          <p:cNvPr id="4" name="Chart 11">
            <a:extLst>
              <a:ext uri="{FF2B5EF4-FFF2-40B4-BE49-F238E27FC236}">
                <a16:creationId xmlns:a16="http://schemas.microsoft.com/office/drawing/2014/main" id="{EFF09343-7E49-4458-99BA-C44FF4F4332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89590895"/>
              </p:ext>
            </p:extLst>
          </p:nvPr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xtBox 14">
            <a:extLst>
              <a:ext uri="{FF2B5EF4-FFF2-40B4-BE49-F238E27FC236}">
                <a16:creationId xmlns:a16="http://schemas.microsoft.com/office/drawing/2014/main" id="{726029F8-CC8A-4D5B-8F49-AFDD0647854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>
                <a:solidFill>
                  <a:prstClr val="black"/>
                </a:solidFill>
                <a:latin typeface="Arial" panose="020B0604020202020204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6" name="TextBox 14">
            <a:extLst>
              <a:ext uri="{FF2B5EF4-FFF2-40B4-BE49-F238E27FC236}">
                <a16:creationId xmlns:a16="http://schemas.microsoft.com/office/drawing/2014/main" id="{23458BF9-1721-4D26-9635-BE6F3CA1E0F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7" name="Chart 11">
            <a:extLst>
              <a:ext uri="{FF2B5EF4-FFF2-40B4-BE49-F238E27FC236}">
                <a16:creationId xmlns:a16="http://schemas.microsoft.com/office/drawing/2014/main" id="{C8F7EE91-E4A8-4247-B90D-2D742A7A43C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13256785"/>
              </p:ext>
            </p:extLst>
          </p:nvPr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0428A041-0109-4D33-97BF-31945ED868C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900" i="1" dirty="0"/>
              <a:t>Výpočet srovnává</a:t>
            </a:r>
            <a:r>
              <a:rPr lang="cs-CZ" sz="900" i="1" baseline="0" dirty="0"/>
              <a:t> hodnotu indikátoru v daný den s obdobnou hodnotou před týdnem, rozdíl je vyjádřen v % hodnoty před týdnem.</a:t>
            </a:r>
            <a:endParaRPr lang="cs-CZ" sz="900" i="1" dirty="0"/>
          </a:p>
        </p:txBody>
      </p:sp>
    </p:spTree>
    <p:extLst>
      <p:ext uri="{BB962C8B-B14F-4D97-AF65-F5344CB8AC3E}">
        <p14:creationId xmlns:p14="http://schemas.microsoft.com/office/powerpoint/2010/main" val="8230878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52773" y="0"/>
            <a:ext cx="1188645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íčové ukazatele a rizikové faktory po posouzení vývoje epidemie</a:t>
            </a:r>
            <a:endParaRPr kumimoji="0" lang="cs-CZ" sz="30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2" name="Tabulka 21">
            <a:extLst>
              <a:ext uri="{FF2B5EF4-FFF2-40B4-BE49-F238E27FC236}">
                <a16:creationId xmlns:a16="http://schemas.microsoft.com/office/drawing/2014/main" id="{0F532DB9-8A49-4532-8F7E-A99DB5C40FA9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6794993"/>
              </p:ext>
            </p:extLst>
          </p:nvPr>
        </p:nvGraphicFramePr>
        <p:xfrm>
          <a:off x="107353" y="1313136"/>
          <a:ext cx="3665443" cy="383946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862618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802825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</a:tblGrid>
              <a:tr h="411117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LOGISTIKA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 &amp; MANAGEMENT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EPIDEMIE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</a:rPr>
                        <a:t>Hodnota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skriminační PCR (% z pozitivních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ané případy (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ání: vyřešené případy z pozitivních do 24h (%; za 7 dní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ání:7denní průměrný počet hlášených kontak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 populace 16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7924369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 populace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705046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 celá populace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3629135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silující dávka (% osob, které mají náro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,1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CR testů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62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822544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klinicky a diagnosticky indikovaných PCR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12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8440519"/>
                  </a:ext>
                </a:extLst>
              </a:tr>
            </a:tbl>
          </a:graphicData>
        </a:graphic>
      </p:graphicFrame>
      <p:graphicFrame>
        <p:nvGraphicFramePr>
          <p:cNvPr id="23" name="Tabulka 22">
            <a:extLst>
              <a:ext uri="{FF2B5EF4-FFF2-40B4-BE49-F238E27FC236}">
                <a16:creationId xmlns:a16="http://schemas.microsoft.com/office/drawing/2014/main" id="{1F94E2A2-209A-4845-812E-17757BC91BEA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3673676"/>
              </p:ext>
            </p:extLst>
          </p:nvPr>
        </p:nvGraphicFramePr>
        <p:xfrm>
          <a:off x="4027939" y="1313135"/>
          <a:ext cx="3858017" cy="302100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088644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769373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</a:tblGrid>
              <a:tr h="47098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POPULA</a:t>
                      </a: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ČNÍ UKAZATELE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</a:rPr>
                        <a:t>Hodnota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434220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3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9944530"/>
                  </a:ext>
                </a:extLst>
              </a:tr>
              <a:tr h="434220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symptomatických případů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1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5090560"/>
                  </a:ext>
                </a:extLst>
              </a:tr>
              <a:tr h="391790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hodnota 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42993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relativní pozitivita (Dg+Epi) indikovaných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42993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65+/ 100tis. obyv.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7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42993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indikovaných (Dg+Epi) testů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</a:tbl>
          </a:graphicData>
        </a:graphic>
      </p:graphicFrame>
      <p:graphicFrame>
        <p:nvGraphicFramePr>
          <p:cNvPr id="24" name="Tabulka 23">
            <a:extLst>
              <a:ext uri="{FF2B5EF4-FFF2-40B4-BE49-F238E27FC236}">
                <a16:creationId xmlns:a16="http://schemas.microsoft.com/office/drawing/2014/main" id="{7A86019B-54FD-4C3D-9845-0E85E2D3D6B7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66238042"/>
              </p:ext>
            </p:extLst>
          </p:nvPr>
        </p:nvGraphicFramePr>
        <p:xfrm>
          <a:off x="8083409" y="1313136"/>
          <a:ext cx="3813416" cy="302100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056961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756455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</a:tblGrid>
              <a:tr h="44993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ZDRAVOTNÍ DOPAD COVID-19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</a:rPr>
                        <a:t>Hodnota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67570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do nemocnic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9944530"/>
                  </a:ext>
                </a:extLst>
              </a:tr>
              <a:tr h="42207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na JIP (včetně překladů)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1261566"/>
                  </a:ext>
                </a:extLst>
              </a:tr>
              <a:tr h="33165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stupná funkční kapacita JIP (% celkové kapacity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2222971"/>
                  </a:ext>
                </a:extLst>
              </a:tr>
              <a:tr h="33165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celkem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363940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na JIP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363940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pacientů na UPV/ECMO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63940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bložnost JIP pacienty s COVID-19 v % aktuální celkové kapacit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442261"/>
                  </a:ext>
                </a:extLst>
              </a:tr>
            </a:tbl>
          </a:graphicData>
        </a:graphic>
      </p:graphicFrame>
      <p:sp>
        <p:nvSpPr>
          <p:cNvPr id="26" name="TextovéPole 25">
            <a:extLst>
              <a:ext uri="{FF2B5EF4-FFF2-40B4-BE49-F238E27FC236}">
                <a16:creationId xmlns:a16="http://schemas.microsoft.com/office/drawing/2014/main" id="{915B2B79-3BEF-44FC-A588-61C720C0CBF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21512" y="647308"/>
            <a:ext cx="1008609" cy="369332"/>
          </a:xfrm>
          <a:prstGeom prst="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.3.2022</a:t>
            </a:r>
          </a:p>
        </p:txBody>
      </p:sp>
    </p:spTree>
    <p:extLst>
      <p:ext uri="{BB962C8B-B14F-4D97-AF65-F5344CB8AC3E}">
        <p14:creationId xmlns:p14="http://schemas.microsoft.com/office/powerpoint/2010/main" val="335614657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8099085" cy="576000"/>
          </a:xfrm>
        </p:spPr>
        <p:txBody>
          <a:bodyPr/>
          <a:lstStyle/>
          <a:p>
            <a:r>
              <a:rPr lang="cs-CZ" sz="1400" dirty="0"/>
              <a:t>7denní počet případů, hospitalizovaných na JIP </a:t>
            </a:r>
            <a:r>
              <a:rPr lang="en-US" sz="1400" dirty="0"/>
              <a:t>v den </a:t>
            </a:r>
            <a:r>
              <a:rPr lang="cs-CZ" sz="1400" dirty="0"/>
              <a:t>pozitivity </a:t>
            </a:r>
            <a:r>
              <a:rPr lang="en-US" sz="1400" dirty="0"/>
              <a:t>v % </a:t>
            </a:r>
            <a:r>
              <a:rPr lang="en-US" sz="1400" dirty="0" err="1"/>
              <a:t>nov</a:t>
            </a:r>
            <a:r>
              <a:rPr lang="cs-CZ" sz="1400" dirty="0"/>
              <a:t>ě hospitalizovaných</a:t>
            </a:r>
            <a:endParaRPr lang="cs-CZ" sz="1400" dirty="0">
              <a:solidFill>
                <a:srgbClr val="00FF00"/>
              </a:solidFill>
            </a:endParaRPr>
          </a:p>
        </p:txBody>
      </p:sp>
      <p:graphicFrame>
        <p:nvGraphicFramePr>
          <p:cNvPr id="4" name="Chart 11">
            <a:extLst>
              <a:ext uri="{FF2B5EF4-FFF2-40B4-BE49-F238E27FC236}">
                <a16:creationId xmlns:a16="http://schemas.microsoft.com/office/drawing/2014/main" id="{EC96C70C-DBB7-4707-853F-7AA1D3F773E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42490318"/>
              </p:ext>
            </p:extLst>
          </p:nvPr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xtBox 14">
            <a:extLst>
              <a:ext uri="{FF2B5EF4-FFF2-40B4-BE49-F238E27FC236}">
                <a16:creationId xmlns:a16="http://schemas.microsoft.com/office/drawing/2014/main" id="{AF539B6B-A616-482B-B9C4-F9977BEF13B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>
                <a:solidFill>
                  <a:prstClr val="black"/>
                </a:solidFill>
                <a:latin typeface="Arial" panose="020B0604020202020204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6" name="TextBox 14">
            <a:extLst>
              <a:ext uri="{FF2B5EF4-FFF2-40B4-BE49-F238E27FC236}">
                <a16:creationId xmlns:a16="http://schemas.microsoft.com/office/drawing/2014/main" id="{7B606699-D057-482F-9C65-5A670BDA89D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7" name="Chart 11">
            <a:extLst>
              <a:ext uri="{FF2B5EF4-FFF2-40B4-BE49-F238E27FC236}">
                <a16:creationId xmlns:a16="http://schemas.microsoft.com/office/drawing/2014/main" id="{C2ACFA3B-19D3-47D0-817F-13FCE1A7004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58279864"/>
              </p:ext>
            </p:extLst>
          </p:nvPr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11DF5743-3F99-4687-8F32-CC3D9811F07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900" i="1" dirty="0"/>
              <a:t>Výpočet srovnává</a:t>
            </a:r>
            <a:r>
              <a:rPr lang="cs-CZ" sz="900" i="1" baseline="0" dirty="0"/>
              <a:t> hodnotu indikátoru v daný den s obdobnou hodnotou před týdnem, rozdíl je vyjádřen v % hodnoty před týdnem.</a:t>
            </a:r>
            <a:endParaRPr lang="cs-CZ" sz="900" i="1" dirty="0"/>
          </a:p>
        </p:txBody>
      </p:sp>
    </p:spTree>
    <p:extLst>
      <p:ext uri="{BB962C8B-B14F-4D97-AF65-F5344CB8AC3E}">
        <p14:creationId xmlns:p14="http://schemas.microsoft.com/office/powerpoint/2010/main" val="165042353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881058" cy="576000"/>
          </a:xfrm>
        </p:spPr>
        <p:txBody>
          <a:bodyPr/>
          <a:lstStyle/>
          <a:p>
            <a:r>
              <a:rPr lang="cs-CZ" sz="1400" dirty="0"/>
              <a:t>7denní počet případů, hospitalizovaných na JIP 65+ </a:t>
            </a:r>
            <a:r>
              <a:rPr lang="en-US" sz="1400" dirty="0"/>
              <a:t>v den </a:t>
            </a:r>
            <a:r>
              <a:rPr lang="cs-CZ" sz="1400" dirty="0"/>
              <a:t>pozitivity / 100 tisíc obyvatel 65+</a:t>
            </a:r>
            <a:endParaRPr lang="cs-CZ" sz="1400" dirty="0">
              <a:solidFill>
                <a:srgbClr val="00FF00"/>
              </a:solidFill>
            </a:endParaRP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7C73A03D-02FD-4EE0-99B7-A9E50F88E66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31850641"/>
              </p:ext>
            </p:extLst>
          </p:nvPr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" name="TextBox 14">
            <a:extLst>
              <a:ext uri="{FF2B5EF4-FFF2-40B4-BE49-F238E27FC236}">
                <a16:creationId xmlns:a16="http://schemas.microsoft.com/office/drawing/2014/main" id="{0A249515-A4ED-4845-A0D5-7D35224904F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>
                <a:solidFill>
                  <a:prstClr val="black"/>
                </a:solidFill>
                <a:latin typeface="Arial" panose="020B0604020202020204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14" name="TextBox 14">
            <a:extLst>
              <a:ext uri="{FF2B5EF4-FFF2-40B4-BE49-F238E27FC236}">
                <a16:creationId xmlns:a16="http://schemas.microsoft.com/office/drawing/2014/main" id="{CAFC2DD2-8D68-4E25-A239-1B7D8358EB7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15" name="Chart 11">
            <a:extLst>
              <a:ext uri="{FF2B5EF4-FFF2-40B4-BE49-F238E27FC236}">
                <a16:creationId xmlns:a16="http://schemas.microsoft.com/office/drawing/2014/main" id="{C777C83A-7EC6-4EBF-AC56-192E2308183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791214"/>
              </p:ext>
            </p:extLst>
          </p:nvPr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6" name="TextBox 6">
            <a:extLst>
              <a:ext uri="{FF2B5EF4-FFF2-40B4-BE49-F238E27FC236}">
                <a16:creationId xmlns:a16="http://schemas.microsoft.com/office/drawing/2014/main" id="{31DCCF15-8D32-4CC1-9851-768A374556C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900" i="1" dirty="0"/>
              <a:t>Výpočet srovnává</a:t>
            </a:r>
            <a:r>
              <a:rPr lang="cs-CZ" sz="900" i="1" baseline="0" dirty="0"/>
              <a:t> hodnotu indikátoru v daný den s obdobnou hodnotou před týdnem, rozdíl je vyjádřen v % hodnoty před týdnem.</a:t>
            </a:r>
            <a:endParaRPr lang="cs-CZ" sz="900" i="1" dirty="0"/>
          </a:p>
        </p:txBody>
      </p:sp>
    </p:spTree>
    <p:extLst>
      <p:ext uri="{BB962C8B-B14F-4D97-AF65-F5344CB8AC3E}">
        <p14:creationId xmlns:p14="http://schemas.microsoft.com/office/powerpoint/2010/main" val="118070204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8155233" cy="576000"/>
          </a:xfrm>
        </p:spPr>
        <p:txBody>
          <a:bodyPr/>
          <a:lstStyle/>
          <a:p>
            <a:r>
              <a:rPr lang="cs-CZ" sz="1200" dirty="0"/>
              <a:t>7denní počet případů, hospitalizovaných na JIP 65+ </a:t>
            </a:r>
            <a:r>
              <a:rPr lang="en-US" sz="1200" dirty="0"/>
              <a:t>v den </a:t>
            </a:r>
            <a:r>
              <a:rPr lang="cs-CZ" sz="1200" dirty="0"/>
              <a:t>pozitivity </a:t>
            </a:r>
            <a:r>
              <a:rPr lang="en-US" sz="1200" dirty="0"/>
              <a:t>v % v</a:t>
            </a:r>
            <a:r>
              <a:rPr lang="cs-CZ" sz="1200" dirty="0"/>
              <a:t>šech pozitivních 65+</a:t>
            </a:r>
            <a:endParaRPr lang="cs-CZ" sz="1200" dirty="0">
              <a:solidFill>
                <a:srgbClr val="00FF00"/>
              </a:solidFill>
            </a:endParaRPr>
          </a:p>
        </p:txBody>
      </p:sp>
      <p:graphicFrame>
        <p:nvGraphicFramePr>
          <p:cNvPr id="4" name="Chart 11">
            <a:extLst>
              <a:ext uri="{FF2B5EF4-FFF2-40B4-BE49-F238E27FC236}">
                <a16:creationId xmlns:a16="http://schemas.microsoft.com/office/drawing/2014/main" id="{A047779F-852E-47CC-BC05-47DB9006DB0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11353101"/>
              </p:ext>
            </p:extLst>
          </p:nvPr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xtBox 14">
            <a:extLst>
              <a:ext uri="{FF2B5EF4-FFF2-40B4-BE49-F238E27FC236}">
                <a16:creationId xmlns:a16="http://schemas.microsoft.com/office/drawing/2014/main" id="{C07DA664-CD93-4EA2-9EE0-40902886971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>
                <a:solidFill>
                  <a:prstClr val="black"/>
                </a:solidFill>
                <a:latin typeface="Arial" panose="020B0604020202020204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6" name="TextBox 14">
            <a:extLst>
              <a:ext uri="{FF2B5EF4-FFF2-40B4-BE49-F238E27FC236}">
                <a16:creationId xmlns:a16="http://schemas.microsoft.com/office/drawing/2014/main" id="{F1425992-2F5D-433F-89A0-C14043B1B19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7" name="Chart 11">
            <a:extLst>
              <a:ext uri="{FF2B5EF4-FFF2-40B4-BE49-F238E27FC236}">
                <a16:creationId xmlns:a16="http://schemas.microsoft.com/office/drawing/2014/main" id="{04ADAFAF-93A6-4FE8-B9FF-B4555D3F2FB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58022114"/>
              </p:ext>
            </p:extLst>
          </p:nvPr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B784D182-2403-4EA1-81A8-7EDC8E33CEE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900" i="1" dirty="0"/>
              <a:t>Výpočet srovnává</a:t>
            </a:r>
            <a:r>
              <a:rPr lang="cs-CZ" sz="900" i="1" baseline="0" dirty="0"/>
              <a:t> hodnotu indikátoru v daný den s obdobnou hodnotou před týdnem, rozdíl je vyjádřen v % hodnoty před týdnem.</a:t>
            </a:r>
            <a:endParaRPr lang="cs-CZ" sz="900" i="1" dirty="0"/>
          </a:p>
        </p:txBody>
      </p:sp>
    </p:spTree>
    <p:extLst>
      <p:ext uri="{BB962C8B-B14F-4D97-AF65-F5344CB8AC3E}">
        <p14:creationId xmlns:p14="http://schemas.microsoft.com/office/powerpoint/2010/main" val="226458079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8288087" cy="576000"/>
          </a:xfrm>
        </p:spPr>
        <p:txBody>
          <a:bodyPr/>
          <a:lstStyle/>
          <a:p>
            <a:r>
              <a:rPr lang="cs-CZ" sz="1200" dirty="0"/>
              <a:t>7denní počet případů, hospitalizovaných na JIP 65+ </a:t>
            </a:r>
            <a:r>
              <a:rPr lang="en-US" sz="1200" dirty="0"/>
              <a:t>v den </a:t>
            </a:r>
            <a:r>
              <a:rPr lang="cs-CZ" sz="1200" dirty="0"/>
              <a:t>pozitivity </a:t>
            </a:r>
            <a:r>
              <a:rPr lang="en-US" sz="1200" dirty="0"/>
              <a:t>v % </a:t>
            </a:r>
            <a:r>
              <a:rPr lang="en-US" sz="1200" dirty="0" err="1"/>
              <a:t>nov</a:t>
            </a:r>
            <a:r>
              <a:rPr lang="cs-CZ" sz="1200" dirty="0"/>
              <a:t>ě hospitalizovaných 65+</a:t>
            </a:r>
            <a:endParaRPr lang="cs-CZ" sz="1200" dirty="0">
              <a:solidFill>
                <a:srgbClr val="00FF00"/>
              </a:solidFill>
            </a:endParaRPr>
          </a:p>
        </p:txBody>
      </p:sp>
      <p:graphicFrame>
        <p:nvGraphicFramePr>
          <p:cNvPr id="4" name="Chart 11">
            <a:extLst>
              <a:ext uri="{FF2B5EF4-FFF2-40B4-BE49-F238E27FC236}">
                <a16:creationId xmlns:a16="http://schemas.microsoft.com/office/drawing/2014/main" id="{EA16D82E-B380-4531-AF74-BCB14842E0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14187825"/>
              </p:ext>
            </p:extLst>
          </p:nvPr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xtBox 14">
            <a:extLst>
              <a:ext uri="{FF2B5EF4-FFF2-40B4-BE49-F238E27FC236}">
                <a16:creationId xmlns:a16="http://schemas.microsoft.com/office/drawing/2014/main" id="{29821344-76C7-4D0A-BB2F-84C34962B75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>
                <a:solidFill>
                  <a:prstClr val="black"/>
                </a:solidFill>
                <a:latin typeface="Arial" panose="020B0604020202020204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6" name="TextBox 14">
            <a:extLst>
              <a:ext uri="{FF2B5EF4-FFF2-40B4-BE49-F238E27FC236}">
                <a16:creationId xmlns:a16="http://schemas.microsoft.com/office/drawing/2014/main" id="{32BDC606-CD94-4B15-843C-072615A7648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7" name="Chart 11">
            <a:extLst>
              <a:ext uri="{FF2B5EF4-FFF2-40B4-BE49-F238E27FC236}">
                <a16:creationId xmlns:a16="http://schemas.microsoft.com/office/drawing/2014/main" id="{6282E557-4D16-4C2F-91D9-909C7BCA2FC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69019265"/>
              </p:ext>
            </p:extLst>
          </p:nvPr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6CD9FA0D-C083-4C2B-B6B6-6E4A88268FC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900" i="1" dirty="0"/>
              <a:t>Výpočet srovnává</a:t>
            </a:r>
            <a:r>
              <a:rPr lang="cs-CZ" sz="900" i="1" baseline="0" dirty="0"/>
              <a:t> hodnotu indikátoru v daný den s obdobnou hodnotou před týdnem, rozdíl je vyjádřen v % hodnoty před týdnem.</a:t>
            </a:r>
            <a:endParaRPr lang="cs-CZ" sz="900" i="1" dirty="0"/>
          </a:p>
        </p:txBody>
      </p:sp>
    </p:spTree>
    <p:extLst>
      <p:ext uri="{BB962C8B-B14F-4D97-AF65-F5344CB8AC3E}">
        <p14:creationId xmlns:p14="http://schemas.microsoft.com/office/powerpoint/2010/main" val="25518210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>
            <p:custDataLst>
              <p:tags r:id="rId1"/>
            </p:custDataLst>
          </p:nvPr>
        </p:nvSpPr>
        <p:spPr>
          <a:xfrm>
            <a:off x="152773" y="0"/>
            <a:ext cx="1188645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íčové ukazatele a rizikové faktory po posouzení vývoje epidemie</a:t>
            </a:r>
            <a:endParaRPr kumimoji="0" lang="cs-CZ" sz="30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5" name="Tabulka 24">
            <a:extLst>
              <a:ext uri="{FF2B5EF4-FFF2-40B4-BE49-F238E27FC236}">
                <a16:creationId xmlns:a16="http://schemas.microsoft.com/office/drawing/2014/main" id="{9F1A6B3C-5D86-41F8-9A05-F9692C3D54A3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7977061"/>
              </p:ext>
            </p:extLst>
          </p:nvPr>
        </p:nvGraphicFramePr>
        <p:xfrm>
          <a:off x="4143455" y="1082564"/>
          <a:ext cx="3846989" cy="467487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055150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791839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</a:tblGrid>
              <a:tr h="42454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POPULACE S DOKONČENÝM OČKOVÁNÍM BEZ POSILUJÍCÍ DÁVKY</a:t>
                      </a:r>
                      <a:endParaRPr lang="cs-CZ" sz="12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Hodnota</a:t>
                      </a:r>
                      <a:endParaRPr lang="cs-CZ" sz="11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52917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po dokončeném očkování / 100tis. obyv. s dokončeným očkování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6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7558024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symptomatických případů / 100 tis. obyv. s dokončeným očkování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1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3973997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(Dg+Epi) indikovaných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029391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65+/ 100tis. obyv. 65+ s dokončeným očkování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3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6009103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indikovaných (Dg+Epi) testů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8811140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do nemocnic / 100tis. obyv. s dokončeným očkováním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52917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na JIP (včetně překladů) / 100tis. obyv. s dokončeným očkováním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na JIP k danému dni / 100 tis. obyv. s dokončeným očkováním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pacientů na UPV/ECMO k danému dni / 100 tis. obyv. s dokončeným očkováním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8833963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klinicky a diagnosticky indikovaných PCR testů / 100tis. obyv. s dokončeným očkováním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92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9985309"/>
                  </a:ext>
                </a:extLst>
              </a:tr>
            </a:tbl>
          </a:graphicData>
        </a:graphic>
      </p:graphicFrame>
      <p:sp>
        <p:nvSpPr>
          <p:cNvPr id="26" name="TextovéPole 25">
            <a:extLst>
              <a:ext uri="{FF2B5EF4-FFF2-40B4-BE49-F238E27FC236}">
                <a16:creationId xmlns:a16="http://schemas.microsoft.com/office/drawing/2014/main" id="{915B2B79-3BEF-44FC-A588-61C720C0CBF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2328" y="647308"/>
            <a:ext cx="1008609" cy="369332"/>
          </a:xfrm>
          <a:prstGeom prst="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.3.2022</a:t>
            </a:r>
          </a:p>
        </p:txBody>
      </p:sp>
      <p:graphicFrame>
        <p:nvGraphicFramePr>
          <p:cNvPr id="29" name="Tabulka 28">
            <a:extLst>
              <a:ext uri="{FF2B5EF4-FFF2-40B4-BE49-F238E27FC236}">
                <a16:creationId xmlns:a16="http://schemas.microsoft.com/office/drawing/2014/main" id="{963A3029-6770-4837-AFC6-FBE9FB189221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00084920"/>
              </p:ext>
            </p:extLst>
          </p:nvPr>
        </p:nvGraphicFramePr>
        <p:xfrm>
          <a:off x="84945" y="1087466"/>
          <a:ext cx="3846989" cy="467487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055150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791839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</a:tblGrid>
              <a:tr h="42454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POPULACE NEOČKOVANÁ NEBO S NEDOKONČENÝM OČKOVÁNÍM</a:t>
                      </a:r>
                      <a:endParaRPr lang="cs-CZ" sz="12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Hodnota</a:t>
                      </a:r>
                      <a:endParaRPr lang="cs-CZ" sz="11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52917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bez dokončeného očkování / 100tis. obyv. bez dokončeného 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6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7558024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symptomatických případů / 100 tis. obyv. bez dokončeného 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0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3973997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(Dg+Epi) indikovaných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029391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65+/ 100tis. obyv. 65+ bez dokončeného 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1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6009103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indikovaných (Dg+Epi) testů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8811140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do nemocnic / 100tis. obyv. bez dokončeného 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52917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na JIP (včetně překladů) / 100tis. obyv. bez dokončeného 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na JIP k danému dni / 100 tis. obyv. bez dokončeného 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pacientů na UPV/ECMO k danému dni / 100 tis. obyv. bez dokončeného 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0073058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klinicky a diagnosticky indikovaných PCR testů / 100tis. obyv. bez dokončeného 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60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492037"/>
                  </a:ext>
                </a:extLst>
              </a:tr>
            </a:tbl>
          </a:graphicData>
        </a:graphic>
      </p:graphicFrame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875F9F4B-87C3-45A7-AFFC-DD3BF85AD83C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452533141"/>
              </p:ext>
            </p:extLst>
          </p:nvPr>
        </p:nvGraphicFramePr>
        <p:xfrm>
          <a:off x="8192238" y="1085793"/>
          <a:ext cx="3846988" cy="479947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055149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791839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</a:tblGrid>
              <a:tr h="435858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POPULACE S DOKONČENÝM OČKOVÁNÍM S POSILUJÍCÍ DÁVKOU</a:t>
                      </a:r>
                      <a:endParaRPr lang="cs-CZ" sz="12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Hodnota</a:t>
                      </a:r>
                      <a:endParaRPr lang="cs-CZ" sz="11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543283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po dokončeném očkování / 100tis. obyv. po posilující dávc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7558024"/>
                  </a:ext>
                </a:extLst>
              </a:tr>
              <a:tr h="40183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symptomatických případů / 100 tis. obyv. po posilující dávc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6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3973997"/>
                  </a:ext>
                </a:extLst>
              </a:tr>
              <a:tr h="40183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(Dg+Epi) indikovaných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029391"/>
                  </a:ext>
                </a:extLst>
              </a:tr>
              <a:tr h="40183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65+/ 100tis. obyv. 65+ po posilující dávc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4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6009103"/>
                  </a:ext>
                </a:extLst>
              </a:tr>
              <a:tr h="40183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indikovaných (Dg+Epi) testů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8811140"/>
                  </a:ext>
                </a:extLst>
              </a:tr>
              <a:tr h="365554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do nemocnic / 100tis. obyv. po posilující dávc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543283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na JIP (včetně překladů) / 100tis. obyv. po posilující dávc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65554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na JIP k danému dni / 100 tis. obyv. po posilující dávc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  <a:tr h="365554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pacientů na UPV/ECMO k danému dni / 100 tis. obyv. po posilující dávc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8833963"/>
                  </a:ext>
                </a:extLst>
              </a:tr>
              <a:tr h="57304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klinicky a diagnosticky indikovaných PCR testů / 100tis. obyv. po posilující dávc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4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99853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55097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Časové trendy ve vývoji epidemie</a:t>
            </a:r>
          </a:p>
        </p:txBody>
      </p:sp>
    </p:spTree>
    <p:extLst>
      <p:ext uri="{BB962C8B-B14F-4D97-AF65-F5344CB8AC3E}">
        <p14:creationId xmlns:p14="http://schemas.microsoft.com/office/powerpoint/2010/main" val="20794235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881058" cy="576000"/>
          </a:xfrm>
        </p:spPr>
        <p:txBody>
          <a:bodyPr/>
          <a:lstStyle/>
          <a:p>
            <a:r>
              <a:rPr lang="cs-CZ" sz="1800" dirty="0"/>
              <a:t>7denní počet (suma) PCR testů / 100 tisíc obyvatel</a:t>
            </a:r>
            <a:endParaRPr lang="cs-CZ" sz="1800" dirty="0">
              <a:solidFill>
                <a:srgbClr val="00FF00"/>
              </a:solidFill>
            </a:endParaRP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82084875"/>
              </p:ext>
            </p:extLst>
          </p:nvPr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>
                <a:solidFill>
                  <a:prstClr val="black"/>
                </a:solidFill>
                <a:latin typeface="Arial" panose="020B0604020202020204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59ED2783-69D3-4D22-8B2F-91383DFC8F1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B2C22C8-9D6B-43C2-AD6A-4B6ABC47E7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3679052"/>
              </p:ext>
            </p:extLst>
          </p:nvPr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9BDC6912-09FD-4720-9C5F-9FE68543F4D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900" i="1" dirty="0"/>
              <a:t>Výpočet srovnává</a:t>
            </a:r>
            <a:r>
              <a:rPr lang="cs-CZ" sz="900" i="1" baseline="0" dirty="0"/>
              <a:t> hodnotu indikátoru v daný den s obdobnou hodnotou před týdnem, rozdíl je vyjádřen v % hodnoty před týdnem.</a:t>
            </a:r>
            <a:endParaRPr lang="cs-CZ" sz="900" i="1" dirty="0"/>
          </a:p>
        </p:txBody>
      </p:sp>
    </p:spTree>
    <p:extLst>
      <p:ext uri="{BB962C8B-B14F-4D97-AF65-F5344CB8AC3E}">
        <p14:creationId xmlns:p14="http://schemas.microsoft.com/office/powerpoint/2010/main" val="318859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881058" cy="576000"/>
          </a:xfrm>
        </p:spPr>
        <p:txBody>
          <a:bodyPr/>
          <a:lstStyle/>
          <a:p>
            <a:r>
              <a:rPr lang="cs-CZ" sz="1800" dirty="0"/>
              <a:t>7denní počet (suma) případů / 100 tisíc obyvatel</a:t>
            </a:r>
            <a:endParaRPr lang="cs-CZ" sz="1800" dirty="0">
              <a:solidFill>
                <a:srgbClr val="00FF00"/>
              </a:solidFill>
            </a:endParaRP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40493546"/>
              </p:ext>
            </p:extLst>
          </p:nvPr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>
                <a:solidFill>
                  <a:prstClr val="black"/>
                </a:solidFill>
                <a:latin typeface="Arial" panose="020B0604020202020204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59ED2783-69D3-4D22-8B2F-91383DFC8F1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B2C22C8-9D6B-43C2-AD6A-4B6ABC47E7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74667407"/>
              </p:ext>
            </p:extLst>
          </p:nvPr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AFFAFF64-A785-495C-B462-DC7070FFC89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900" i="1" dirty="0"/>
              <a:t>Výpočet srovnává</a:t>
            </a:r>
            <a:r>
              <a:rPr lang="cs-CZ" sz="900" i="1" baseline="0" dirty="0"/>
              <a:t> hodnotu indikátoru v daný den s obdobnou hodnotou před týdnem, rozdíl je vyjádřen v % hodnoty před týdnem.</a:t>
            </a:r>
            <a:endParaRPr lang="cs-CZ" sz="900" i="1" dirty="0"/>
          </a:p>
        </p:txBody>
      </p:sp>
    </p:spTree>
    <p:extLst>
      <p:ext uri="{BB962C8B-B14F-4D97-AF65-F5344CB8AC3E}">
        <p14:creationId xmlns:p14="http://schemas.microsoft.com/office/powerpoint/2010/main" val="3664904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881058" cy="576000"/>
          </a:xfrm>
        </p:spPr>
        <p:txBody>
          <a:bodyPr/>
          <a:lstStyle/>
          <a:p>
            <a:r>
              <a:rPr lang="cs-CZ" sz="1800" dirty="0"/>
              <a:t>7denní počet (suma) PCR testů 65+ / 100 tisíc obyvatel 65+</a:t>
            </a:r>
            <a:endParaRPr lang="cs-CZ" sz="1800" dirty="0">
              <a:solidFill>
                <a:srgbClr val="00FF00"/>
              </a:solidFill>
            </a:endParaRP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51252444"/>
              </p:ext>
            </p:extLst>
          </p:nvPr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>
                <a:solidFill>
                  <a:prstClr val="black"/>
                </a:solidFill>
                <a:latin typeface="Arial" panose="020B0604020202020204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59ED2783-69D3-4D22-8B2F-91383DFC8F1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B2C22C8-9D6B-43C2-AD6A-4B6ABC47E7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33574416"/>
              </p:ext>
            </p:extLst>
          </p:nvPr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TextBox 6">
            <a:extLst>
              <a:ext uri="{FF2B5EF4-FFF2-40B4-BE49-F238E27FC236}">
                <a16:creationId xmlns:a16="http://schemas.microsoft.com/office/drawing/2014/main" id="{4FDE1173-935E-4D59-8013-AA8833C8DD4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77395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900" i="1" dirty="0"/>
              <a:t>Výpočet srovnává</a:t>
            </a:r>
            <a:r>
              <a:rPr lang="cs-CZ" sz="900" i="1" baseline="0" dirty="0"/>
              <a:t> hodnotu indikátoru v daný den s obdobnou hodnotou před týdnem, rozdíl je vyjádřen v % hodnoty před týdnem.</a:t>
            </a:r>
            <a:endParaRPr lang="cs-CZ" sz="900" i="1" dirty="0"/>
          </a:p>
        </p:txBody>
      </p:sp>
    </p:spTree>
    <p:extLst>
      <p:ext uri="{BB962C8B-B14F-4D97-AF65-F5344CB8AC3E}">
        <p14:creationId xmlns:p14="http://schemas.microsoft.com/office/powerpoint/2010/main" val="21445287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881058" cy="576000"/>
          </a:xfrm>
        </p:spPr>
        <p:txBody>
          <a:bodyPr/>
          <a:lstStyle/>
          <a:p>
            <a:r>
              <a:rPr lang="cs-CZ" sz="1800" dirty="0"/>
              <a:t>7denní počet (suma) případů 65+ / 100 tisíc obyvatel 65+</a:t>
            </a:r>
            <a:endParaRPr lang="cs-CZ" sz="1800" dirty="0">
              <a:solidFill>
                <a:srgbClr val="00FF00"/>
              </a:solidFill>
            </a:endParaRP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60255370"/>
              </p:ext>
            </p:extLst>
          </p:nvPr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>
                <a:solidFill>
                  <a:prstClr val="black"/>
                </a:solidFill>
                <a:latin typeface="Arial" panose="020B0604020202020204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59ED2783-69D3-4D22-8B2F-91383DFC8F1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B2C22C8-9D6B-43C2-AD6A-4B6ABC47E7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95918700"/>
              </p:ext>
            </p:extLst>
          </p:nvPr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AD279D53-D36B-44B4-9133-EAF0609CEE7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900" i="1" dirty="0"/>
              <a:t>Výpočet srovnává</a:t>
            </a:r>
            <a:r>
              <a:rPr lang="cs-CZ" sz="900" i="1" baseline="0" dirty="0"/>
              <a:t> hodnotu indikátoru v daný den s obdobnou hodnotou před týdnem, rozdíl je vyjádřen v % hodnoty před týdnem.</a:t>
            </a:r>
            <a:endParaRPr lang="cs-CZ" sz="900" i="1" dirty="0"/>
          </a:p>
        </p:txBody>
      </p:sp>
    </p:spTree>
    <p:extLst>
      <p:ext uri="{BB962C8B-B14F-4D97-AF65-F5344CB8AC3E}">
        <p14:creationId xmlns:p14="http://schemas.microsoft.com/office/powerpoint/2010/main" val="16599231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881058" cy="576000"/>
          </a:xfrm>
        </p:spPr>
        <p:txBody>
          <a:bodyPr/>
          <a:lstStyle/>
          <a:p>
            <a:r>
              <a:rPr lang="cs-CZ" sz="1800" dirty="0"/>
              <a:t>7denní relativní pozitivita (dg. + </a:t>
            </a:r>
            <a:r>
              <a:rPr lang="cs-CZ" sz="1800" dirty="0" err="1"/>
              <a:t>epi</a:t>
            </a:r>
            <a:r>
              <a:rPr lang="cs-CZ" sz="1800" dirty="0"/>
              <a:t>.) indikovaných testů</a:t>
            </a:r>
            <a:endParaRPr lang="cs-CZ" sz="1800" dirty="0">
              <a:solidFill>
                <a:srgbClr val="00FF00"/>
              </a:solidFill>
            </a:endParaRP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43824941"/>
              </p:ext>
            </p:extLst>
          </p:nvPr>
        </p:nvGraphicFramePr>
        <p:xfrm>
          <a:off x="386622" y="808651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502402" y="1729230"/>
            <a:ext cx="1470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>
                <a:solidFill>
                  <a:prstClr val="black"/>
                </a:solidFill>
                <a:latin typeface="Arial" panose="020B0604020202020204"/>
              </a:rPr>
              <a:t>H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nota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kátoru</a:t>
            </a: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59ED2783-69D3-4D22-8B2F-91383DFC8F1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91931" y="4779075"/>
            <a:ext cx="22493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ýdenní změna indikátoru v %</a:t>
            </a:r>
          </a:p>
        </p:txBody>
      </p:sp>
      <p:graphicFrame>
        <p:nvGraphicFramePr>
          <p:cNvPr id="33" name="Chart 11">
            <a:extLst>
              <a:ext uri="{FF2B5EF4-FFF2-40B4-BE49-F238E27FC236}">
                <a16:creationId xmlns:a16="http://schemas.microsoft.com/office/drawing/2014/main" id="{FB2C22C8-9D6B-43C2-AD6A-4B6ABC47E7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05446956"/>
              </p:ext>
            </p:extLst>
          </p:nvPr>
        </p:nvGraphicFramePr>
        <p:xfrm>
          <a:off x="386622" y="3787380"/>
          <a:ext cx="11805378" cy="2821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C862A99A-A450-4C8A-B76E-1FFA4247D3F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4887" y="5633851"/>
            <a:ext cx="3664767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900" i="1" dirty="0"/>
              <a:t>Výpočet srovnává</a:t>
            </a:r>
            <a:r>
              <a:rPr lang="cs-CZ" sz="900" i="1" baseline="0" dirty="0"/>
              <a:t> hodnotu indikátoru v daný den s obdobnou hodnotou před týdnem, rozdíl je vyjádřen v % hodnoty před týdnem.</a:t>
            </a:r>
            <a:endParaRPr lang="cs-CZ" sz="900" i="1" dirty="0"/>
          </a:p>
        </p:txBody>
      </p:sp>
    </p:spTree>
    <p:extLst>
      <p:ext uri="{BB962C8B-B14F-4D97-AF65-F5344CB8AC3E}">
        <p14:creationId xmlns:p14="http://schemas.microsoft.com/office/powerpoint/2010/main" val="28462375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KKIP03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3" id="{3B2E77E7-3A16-4B32-A7F5-08967F30F02F}" vid="{206E0270-D0A4-4D15-ABB7-D7AD000546A2}"/>
    </a:ext>
  </a:extLst>
</a:theme>
</file>

<file path=ppt/theme/theme2.xml><?xml version="1.0" encoding="utf-8"?>
<a:theme xmlns:a="http://schemas.openxmlformats.org/drawingml/2006/main" name="8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75</TotalTime>
  <Words>1597</Words>
  <Application>Microsoft Office PowerPoint</Application>
  <PresentationFormat>Širokoúhlá obrazovka</PresentationFormat>
  <Paragraphs>204</Paragraphs>
  <Slides>23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3</vt:i4>
      </vt:variant>
      <vt:variant>
        <vt:lpstr>Nadpisy snímků</vt:lpstr>
      </vt:variant>
      <vt:variant>
        <vt:i4>23</vt:i4>
      </vt:variant>
    </vt:vector>
  </HeadingPairs>
  <TitlesOfParts>
    <vt:vector size="29" baseType="lpstr">
      <vt:lpstr>Arial</vt:lpstr>
      <vt:lpstr>Calibri</vt:lpstr>
      <vt:lpstr>Calibri Light</vt:lpstr>
      <vt:lpstr>KKIP03</vt:lpstr>
      <vt:lpstr>8_Motiv Office</vt:lpstr>
      <vt:lpstr>Motiv Office</vt:lpstr>
      <vt:lpstr>Datová a informační základna  pro management pandemie COVID-19</vt:lpstr>
      <vt:lpstr>Prezentace aplikace PowerPoint</vt:lpstr>
      <vt:lpstr>Prezentace aplikace PowerPoint</vt:lpstr>
      <vt:lpstr>Epidemie COVID-19 v ČR</vt:lpstr>
      <vt:lpstr>7denní počet (suma) PCR testů / 100 tisíc obyvatel</vt:lpstr>
      <vt:lpstr>7denní počet (suma) případů / 100 tisíc obyvatel</vt:lpstr>
      <vt:lpstr>7denní počet (suma) PCR testů 65+ / 100 tisíc obyvatel 65+</vt:lpstr>
      <vt:lpstr>7denní počet (suma) případů 65+ / 100 tisíc obyvatel 65+</vt:lpstr>
      <vt:lpstr>7denní relativní pozitivita (dg. + epi.) indikovaných testů</vt:lpstr>
      <vt:lpstr>7denní relativní pozitivita (dg. + epi.) indikovaných testů 65+</vt:lpstr>
      <vt:lpstr>7denní počet (suma) symptomatických případů / 100 tisíc obyvatel</vt:lpstr>
      <vt:lpstr>7denní hodnota R</vt:lpstr>
      <vt:lpstr>7denní počet nových příjmů do nemocnic / 100 tisíc obyvatel</vt:lpstr>
      <vt:lpstr>7denní počet nových příjmů na JIP (včetně překladů) / 100 tisíc obyv.</vt:lpstr>
      <vt:lpstr>7denní počet nových hospitalizací na JIP / 7denní počet všech nových hospitalizací (v %)</vt:lpstr>
      <vt:lpstr>7denní počet případů, hospitalizovaných do 3 dnů od pozitivity / 100 tisíc obyvatel</vt:lpstr>
      <vt:lpstr>7denní počet případů, hospitalizovaných do 7 dnů od pozitivity / 100 tisíc obyvatel</vt:lpstr>
      <vt:lpstr>7denní počet případů, hospitalizovaných na JIP v den pozitivity / 100 tisíc obyvatel</vt:lpstr>
      <vt:lpstr>7denní počet případů, hospitalizovaných na JIP v den pozitivity v % všech pozitivních</vt:lpstr>
      <vt:lpstr>7denní počet případů, hospitalizovaných na JIP v den pozitivity v % nově hospitalizovaných</vt:lpstr>
      <vt:lpstr>7denní počet případů, hospitalizovaných na JIP 65+ v den pozitivity / 100 tisíc obyvatel 65+</vt:lpstr>
      <vt:lpstr>7denní počet případů, hospitalizovaných na JIP 65+ v den pozitivity v % všech pozitivních 65+</vt:lpstr>
      <vt:lpstr>7denní počet případů, hospitalizovaných na JIP 65+ v den pozitivity v % nově hospitalizovaných 65+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Dušek Ladislav prof. RNDr. Ph.D.</cp:lastModifiedBy>
  <cp:revision>620</cp:revision>
  <dcterms:created xsi:type="dcterms:W3CDTF">2021-03-07T17:05:03Z</dcterms:created>
  <dcterms:modified xsi:type="dcterms:W3CDTF">2022-03-06T15:42:48Z</dcterms:modified>
</cp:coreProperties>
</file>